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0"/>
  </p:notesMasterIdLst>
  <p:sldIdLst>
    <p:sldId id="2142533807" r:id="rId5"/>
    <p:sldId id="2142533782" r:id="rId6"/>
    <p:sldId id="2142533787" r:id="rId7"/>
    <p:sldId id="2142533808" r:id="rId8"/>
    <p:sldId id="2142533783" r:id="rId9"/>
    <p:sldId id="2142533785" r:id="rId10"/>
    <p:sldId id="2142533793" r:id="rId11"/>
    <p:sldId id="2142533810" r:id="rId12"/>
    <p:sldId id="2142533811" r:id="rId13"/>
    <p:sldId id="2142533812" r:id="rId14"/>
    <p:sldId id="2142533813" r:id="rId15"/>
    <p:sldId id="2142533814" r:id="rId16"/>
    <p:sldId id="2142533809" r:id="rId17"/>
    <p:sldId id="2142533805" r:id="rId18"/>
    <p:sldId id="214253381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DFFEB55-37FA-7A9E-12CF-51E49B4AFC25}" name="Sarah Cadman" initials="SC" userId="G4LdJoyfEGukl48LbmtarLM2zapZYHDB+gctWydr4eM=" providerId="None"/>
  <p188:author id="{B8CE2F70-970C-3C73-DF53-FC9BFFF8FED7}" name="Sarah Cadman" initials="SC" userId="S::Sarah.Cadman@hdruk.ac.uk::4c4027bb-1536-471b-9f3d-3bb9bd6f9561" providerId="AD"/>
  <p188:author id="{D3C100A6-75CF-3FDA-99C7-90A2143CFA6C}" name="Hollydawn Murray" initials="HM" userId="S4NVAecVb0K3EoIs6xUD416a9VvA3Z+sR8WZuFosUYw=" providerId="None"/>
  <p188:author id="{C26435BE-C5F8-0B88-CE9C-5BB8EAE0ABEF}" name="Dona Reddiar" initials="DR" userId="Vt4FuRQYYiaBKvP0E8psjYsW1S11UO27fTlsgFCsUYI=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02" autoAdjust="0"/>
    <p:restoredTop sz="65812" autoAdjust="0"/>
  </p:normalViewPr>
  <p:slideViewPr>
    <p:cSldViewPr snapToGrid="0">
      <p:cViewPr>
        <p:scale>
          <a:sx n="40" d="100"/>
          <a:sy n="40" d="100"/>
        </p:scale>
        <p:origin x="984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42" d="100"/>
          <a:sy n="42" d="100"/>
        </p:scale>
        <p:origin x="2820" y="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3-02T16:12:07.41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4 0,'1605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3-02T16:12:08.79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8C1A07-CB53-43A3-A978-15590D4ABAF5}" type="datetimeFigureOut">
              <a:rPr lang="en-GB" smtClean="0"/>
              <a:t>02/03/202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BA2755-6BA8-4B11-AEEF-2E51C938DA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3473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BA2755-6BA8-4B11-AEEF-2E51C938DA18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85206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9C3591-24AA-E20A-CFA9-E620720355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DD4A7CE-81E9-B4EF-36D4-EF9E30FD54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730AE9-2EF8-19D7-3C1A-ED35ED1003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BE0BCA-5D7A-BC01-DB4A-C61FE476B9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BA2755-6BA8-4B11-AEEF-2E51C938DA1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62764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21218D-BAAF-3337-6A96-B3F1DB5DCC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20728A-F869-9473-D367-CCBE87A582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20438FF-E32E-4CF6-6985-B08DED7EE9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77C91E-DAEB-560C-664E-B8DBAFC635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BA2755-6BA8-4B11-AEEF-2E51C938DA1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7496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9F3194-076B-05A4-17B7-5EE0074711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A155F2-54E2-85EC-9011-2A65E7A651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30341E-BD7A-F46A-99AD-5A9ED8D28E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CBC8E8-847C-FD69-2B5F-69B127FD05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BA2755-6BA8-4B11-AEEF-2E51C938DA1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64301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375E16-FAE8-F875-C7B3-D57D68B791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24B63E-038C-B359-FEFD-0531084D94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39C936-2339-D3F0-ACC3-8B74723144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B1E513-69A7-7726-BF66-89E5F4A6A7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BA2755-6BA8-4B11-AEEF-2E51C938DA1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58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35D9E5-8185-60C0-02B9-BD254B1853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B3AD2A-9065-CA06-11DC-B35F26ADA5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85919D-DDB9-0260-8A9F-77EE4B5852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56E5BE-4795-CB2E-A113-9EEDEA255F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BA2755-6BA8-4B11-AEEF-2E51C938DA1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28513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BA2755-6BA8-4B11-AEEF-2E51C938DA18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66050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B13FF4-8245-C3F6-61B1-70F1168CFE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BA967F-D04F-7045-01A8-5F5A38A4CA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3EF3C9-0BFD-6F76-557D-2DFCFD7B07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Anecdotally, conversations with those working in these roles  generally reveal significant variation in both training and curation processes across different workplaces and data modalities – and despite frequent discussions about the data curation skills gap, there is limited concrete evidence to quantify its extent. </a:t>
            </a:r>
          </a:p>
          <a:p>
            <a:endParaRPr lang="en-US" dirty="0"/>
          </a:p>
          <a:p>
            <a:r>
              <a:rPr lang="en-US" dirty="0"/>
              <a:t>But why does this matter? Such skill gaps risk creating barriers to the progress of research and are compounded for sensitive data.</a:t>
            </a:r>
          </a:p>
          <a:p>
            <a:endParaRPr lang="en-US" dirty="0"/>
          </a:p>
          <a:p>
            <a:r>
              <a:rPr lang="en-US" dirty="0"/>
              <a:t>And I think Ben Goldacre really summed up the current state of play quite well: data curation can be done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977C5F-E813-1B77-953F-19E1F7425D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BA2755-6BA8-4B11-AEEF-2E51C938DA18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83873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BA2755-6BA8-4B11-AEEF-2E51C938DA18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63856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BA2755-6BA8-4B11-AEEF-2E51C938DA18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50908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BA2755-6BA8-4B11-AEEF-2E51C938DA1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10804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C8E2E8-CAB6-BE5A-95FC-FF0E4BAE48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0B7C4B-2EA7-C064-6A45-9D04DA7915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560EC9-E19B-BBED-230A-129DD84896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9480AC-5511-E274-ACD9-3792E41BD0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BA2755-6BA8-4B11-AEEF-2E51C938DA1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48454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B64CBA-4515-F0A4-CA5B-82DA000AF7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DCB797-D91D-59E0-F56F-7FB5A9EBC2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C98023C-2122-DCFD-B522-D134370A7D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34E3E8-2AEB-70C4-2DCB-16ACD6E4B6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BA2755-6BA8-4B11-AEEF-2E51C938DA1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82592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8A7B71-4D2D-F6AD-CE0E-66F3EDFDA8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2BE57B-5768-1D75-0D43-F6BC66B24C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F687BD-5280-2275-AABB-E1D6C15843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AE44B4-B620-768D-5E7D-126999C77F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BA2755-6BA8-4B11-AEEF-2E51C938DA1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2690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8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8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8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8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28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515936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515936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4836"/>
            <a:ext cx="607748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5955665-144D-F642-B7A8-9F19D436647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24" name="Date Placeholder 39">
            <a:extLst>
              <a:ext uri="{FF2B5EF4-FFF2-40B4-BE49-F238E27FC236}">
                <a16:creationId xmlns:a16="http://schemas.microsoft.com/office/drawing/2014/main" id="{866C7F25-BB19-B84F-BB91-34AB7A58EF3E}"/>
              </a:ext>
            </a:extLst>
          </p:cNvPr>
          <p:cNvSpPr txBox="1">
            <a:spLocks/>
          </p:cNvSpPr>
          <p:nvPr userDrawn="1"/>
        </p:nvSpPr>
        <p:spPr>
          <a:xfrm>
            <a:off x="839788" y="5990983"/>
            <a:ext cx="1339724" cy="21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D7F4D8B-2C60-204D-9B02-1DFCD1EE4145}" type="datetime1">
              <a:rPr lang="en-GB" sz="1600" smtClean="0"/>
              <a:t>02/03/2026</a:t>
            </a:fld>
            <a:endParaRPr lang="en-US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03849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805" y="-1"/>
            <a:ext cx="1218839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71450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6" y="-1"/>
            <a:ext cx="12188388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725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806" y="-1"/>
            <a:ext cx="12188388" cy="68579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85605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 - Insert ow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60CBDBE-653B-0E46-98D2-7967FA83715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/>
              <a:t>Click to insert </a:t>
            </a:r>
            <a:br>
              <a:rPr lang="en-US" dirty="0"/>
            </a:br>
            <a:r>
              <a:rPr lang="en-US" dirty="0"/>
              <a:t>backgroun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4ED97BF-6115-BD4B-993D-C8F2187EE7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4D073DA-84B7-4A42-88D8-9D284311B1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904F43E-0FCE-6A46-8B17-A97CDC41E5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B172ACA8-D828-6340-96A9-ABAB73B36A0D}" type="datetime1">
              <a:rPr lang="en-GB" smtClean="0"/>
              <a:t>07/11/2019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76551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ull pa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667385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91DD72-2272-37AC-3412-6064DAF9D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BEA161-BE27-AEA7-FC84-4ABE617C01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F4D9C0-0584-77B4-D1D0-9F6CBEA9B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15559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landscap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520826"/>
            <a:ext cx="5756397" cy="46380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70955" y="1520826"/>
            <a:ext cx="4762233" cy="3198813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214640-50D1-884B-ADD9-B899892CA1F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750B73-84CC-1F99-86AB-C56B0B251AD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979307-94A0-F8FF-8B73-53024696BAD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455566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9" y="1520826"/>
            <a:ext cx="7569566" cy="46380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4720" y="1530774"/>
            <a:ext cx="2978468" cy="4638012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1DBD61-1C71-D152-B5C9-B4023934727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04208E-E99B-E051-F342-FA1231F7C6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6BE121-6288-6EBB-32B7-F9941A2F8DC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89400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6393550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761F4-9ADD-E84A-84E1-2821D3FA3D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667385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32E587-A5CD-5864-681C-DC45FB2181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1F8DCB-EF92-2FE4-48F4-46259E6A1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461F84-7530-85ED-3924-7BC01DFBA5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08697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landscap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520826"/>
            <a:ext cx="5756397" cy="46380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70955" y="1520826"/>
            <a:ext cx="4762233" cy="3198813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1E6361-6295-939A-3502-6E5AD579024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18DD06-427F-441A-E38B-C484B3F9F8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D8D63D-7B5A-A006-17EE-601ACF243F8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96319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428115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34139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4836"/>
            <a:ext cx="4902948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0B30D51-1C88-D84B-B986-A8AB4A7D69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7" name="Date Placeholder 39">
            <a:extLst>
              <a:ext uri="{FF2B5EF4-FFF2-40B4-BE49-F238E27FC236}">
                <a16:creationId xmlns:a16="http://schemas.microsoft.com/office/drawing/2014/main" id="{197A65EC-AAF1-4D67-BBF3-FAD25CD06541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32F7932-AC8E-4C4B-A76D-21147C616E0B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147669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9" y="1520826"/>
            <a:ext cx="7569566" cy="46380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4720" y="1530774"/>
            <a:ext cx="2978468" cy="4638012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17503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D82230-362E-444A-BFE1-77023AC14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560098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4990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278916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29771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097840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465056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142DA-7DB6-8744-8187-1CC61847EF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47F5715-A85A-E348-A8CA-46BB8AE7F0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53A626-27E4-9E47-B372-103A752282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368000" y="6339811"/>
            <a:ext cx="1080000" cy="180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591D1C-F4E8-074D-9841-0A613DE17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7CD9C-300D-E94A-9BEF-4C84CD851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5DA533-F6E2-CB49-993E-C86DE34F5A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714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8B24D1E-64D9-5695-A1C7-FB8ED10892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1069C29-D653-3353-0274-E68F728CF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8605" y="2070746"/>
            <a:ext cx="6194789" cy="816748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5807C-56DE-BA98-EA61-CEBB7E957A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98605" y="3066881"/>
            <a:ext cx="8355194" cy="3110082"/>
          </a:xfrm>
        </p:spPr>
        <p:txBody>
          <a:bodyPr/>
          <a:lstStyle>
            <a:lvl1pPr>
              <a:buClr>
                <a:srgbClr val="3DB28C"/>
              </a:buClr>
              <a:defRPr/>
            </a:lvl1pPr>
            <a:lvl2pPr>
              <a:buClr>
                <a:srgbClr val="3DB28C"/>
              </a:buClr>
              <a:defRPr/>
            </a:lvl2pPr>
            <a:lvl3pPr>
              <a:buClr>
                <a:srgbClr val="3DB28C"/>
              </a:buClr>
              <a:defRPr/>
            </a:lvl3pPr>
            <a:lvl4pPr>
              <a:buClr>
                <a:srgbClr val="3DB28C"/>
              </a:buClr>
              <a:defRPr/>
            </a:lvl4pPr>
            <a:lvl5pPr>
              <a:buClr>
                <a:srgbClr val="3DB28C"/>
              </a:buCl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50BA58-FD1C-0731-561C-0BE4B7F2B5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29386-AF38-1E42-9A53-7021DFC73B88}" type="datetimeFigureOut">
              <a:rPr lang="en-US" smtClean="0"/>
              <a:t>3/2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3D01F8-F7F4-9087-6B44-FB99518607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102DF7-E456-0EFF-E1C8-64E6ACA389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95A4B-B878-A24B-85F3-7479A08340A0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E57D5E-3678-90B6-B978-0ABD3ABE6F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2132" y="549156"/>
            <a:ext cx="1443300" cy="510902"/>
          </a:xfrm>
          <a:prstGeom prst="rect">
            <a:avLst/>
          </a:prstGeom>
        </p:spPr>
      </p:pic>
      <p:pic>
        <p:nvPicPr>
          <p:cNvPr id="11" name="Picture 10" descr="A black background with blue and green text&#10;&#10;Description automatically generated">
            <a:extLst>
              <a:ext uri="{FF2B5EF4-FFF2-40B4-BE49-F238E27FC236}">
                <a16:creationId xmlns:a16="http://schemas.microsoft.com/office/drawing/2014/main" id="{EA8472D9-93D8-2A24-28E8-A4B4C5124D4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969236" y="431573"/>
            <a:ext cx="1467854" cy="746067"/>
          </a:xfrm>
          <a:prstGeom prst="rect">
            <a:avLst/>
          </a:prstGeom>
        </p:spPr>
      </p:pic>
      <p:pic>
        <p:nvPicPr>
          <p:cNvPr id="13" name="Picture 12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561D2D38-D12D-7F56-FE82-E1D944A394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854087" y="353179"/>
            <a:ext cx="1001048" cy="90285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0868B23-2344-1606-4963-184EB7AE7AA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-563880" y="2819400"/>
            <a:ext cx="4038600" cy="403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3950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8B24D1E-64D9-5695-A1C7-FB8ED10892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1069C29-D653-3353-0274-E68F728CF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8797" y="1096783"/>
            <a:ext cx="7635002" cy="1063789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5807C-56DE-BA98-EA61-CEBB7E957A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2413" y="2420426"/>
            <a:ext cx="9031385" cy="3756537"/>
          </a:xfrm>
        </p:spPr>
        <p:txBody>
          <a:bodyPr/>
          <a:lstStyle>
            <a:lvl1pPr>
              <a:buClr>
                <a:srgbClr val="3DB28C"/>
              </a:buClr>
              <a:defRPr/>
            </a:lvl1pPr>
            <a:lvl2pPr>
              <a:buClr>
                <a:srgbClr val="3DB28C"/>
              </a:buClr>
              <a:defRPr/>
            </a:lvl2pPr>
            <a:lvl3pPr>
              <a:buClr>
                <a:srgbClr val="3DB28C"/>
              </a:buClr>
              <a:defRPr/>
            </a:lvl3pPr>
            <a:lvl4pPr>
              <a:buClr>
                <a:srgbClr val="3DB28C"/>
              </a:buClr>
              <a:defRPr/>
            </a:lvl4pPr>
            <a:lvl5pPr>
              <a:buClr>
                <a:srgbClr val="3DB28C"/>
              </a:buCl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50BA58-FD1C-0731-561C-0BE4B7F2B5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22413" y="6356350"/>
            <a:ext cx="1049267" cy="365125"/>
          </a:xfrm>
        </p:spPr>
        <p:txBody>
          <a:bodyPr/>
          <a:lstStyle/>
          <a:p>
            <a:fld id="{D4D29386-AF38-1E42-9A53-7021DFC73B88}" type="datetimeFigureOut">
              <a:rPr lang="en-US" smtClean="0"/>
              <a:t>3/2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3D01F8-F7F4-9087-6B44-FB99518607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9049" y="6356350"/>
            <a:ext cx="6659744" cy="365125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7" name="Picture 6" descr="A black background with blue and green text&#10;&#10;Description automatically generated">
            <a:extLst>
              <a:ext uri="{FF2B5EF4-FFF2-40B4-BE49-F238E27FC236}">
                <a16:creationId xmlns:a16="http://schemas.microsoft.com/office/drawing/2014/main" id="{9ADE0DBB-7A9D-CA66-8E4F-32F0F33A097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87986" y="547902"/>
            <a:ext cx="1057614" cy="537554"/>
          </a:xfrm>
          <a:prstGeom prst="rect">
            <a:avLst/>
          </a:prstGeom>
        </p:spPr>
      </p:pic>
      <p:pic>
        <p:nvPicPr>
          <p:cNvPr id="9" name="Picture 8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B15F672F-F605-72D0-DFC2-85DEADA9D64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96569" y="537710"/>
            <a:ext cx="618621" cy="557939"/>
          </a:xfrm>
          <a:prstGeom prst="rect">
            <a:avLst/>
          </a:prstGeom>
        </p:spPr>
      </p:pic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32311D74-E6E5-295D-9FE7-C29E4E29BC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33188" y="6339811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fld id="{A134C65A-A9BE-9F48-B07C-F2CA02A2F7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32508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8B24D1E-64D9-5695-A1C7-FB8ED10892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1069C29-D653-3353-0274-E68F728CF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8797" y="1096783"/>
            <a:ext cx="7635002" cy="1063789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5807C-56DE-BA98-EA61-CEBB7E957A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2413" y="2420426"/>
            <a:ext cx="9031385" cy="3756537"/>
          </a:xfrm>
        </p:spPr>
        <p:txBody>
          <a:bodyPr/>
          <a:lstStyle>
            <a:lvl1pPr>
              <a:buClr>
                <a:srgbClr val="3DB28C"/>
              </a:buClr>
              <a:defRPr/>
            </a:lvl1pPr>
            <a:lvl2pPr>
              <a:buClr>
                <a:srgbClr val="3DB28C"/>
              </a:buClr>
              <a:defRPr/>
            </a:lvl2pPr>
            <a:lvl3pPr>
              <a:buClr>
                <a:srgbClr val="3DB28C"/>
              </a:buClr>
              <a:defRPr/>
            </a:lvl3pPr>
            <a:lvl4pPr>
              <a:buClr>
                <a:srgbClr val="3DB28C"/>
              </a:buClr>
              <a:defRPr/>
            </a:lvl4pPr>
            <a:lvl5pPr>
              <a:buClr>
                <a:srgbClr val="3DB28C"/>
              </a:buCl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50BA58-FD1C-0731-561C-0BE4B7F2B5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22413" y="6356350"/>
            <a:ext cx="1049267" cy="365125"/>
          </a:xfrm>
        </p:spPr>
        <p:txBody>
          <a:bodyPr/>
          <a:lstStyle/>
          <a:p>
            <a:fld id="{D4D29386-AF38-1E42-9A53-7021DFC73B88}" type="datetimeFigureOut">
              <a:rPr lang="en-US" smtClean="0"/>
              <a:t>3/2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3D01F8-F7F4-9087-6B44-FB99518607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9049" y="6356350"/>
            <a:ext cx="6659744" cy="365125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7" name="Picture 6" descr="A black background with blue and green text&#10;&#10;Description automatically generated">
            <a:extLst>
              <a:ext uri="{FF2B5EF4-FFF2-40B4-BE49-F238E27FC236}">
                <a16:creationId xmlns:a16="http://schemas.microsoft.com/office/drawing/2014/main" id="{9ADE0DBB-7A9D-CA66-8E4F-32F0F33A097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87986" y="547902"/>
            <a:ext cx="1057614" cy="537554"/>
          </a:xfrm>
          <a:prstGeom prst="rect">
            <a:avLst/>
          </a:prstGeom>
        </p:spPr>
      </p:pic>
      <p:pic>
        <p:nvPicPr>
          <p:cNvPr id="9" name="Picture 8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B15F672F-F605-72D0-DFC2-85DEADA9D64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96569" y="537710"/>
            <a:ext cx="618621" cy="557939"/>
          </a:xfrm>
          <a:prstGeom prst="rect">
            <a:avLst/>
          </a:prstGeom>
        </p:spPr>
      </p:pic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32311D74-E6E5-295D-9FE7-C29E4E29BC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33188" y="6339811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fld id="{A134C65A-A9BE-9F48-B07C-F2CA02A2F7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621735A7-C4CB-4B9D-746C-DD9D3588F9A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63880" y="2377440"/>
            <a:ext cx="4480560" cy="44805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452069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806488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609416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4836"/>
            <a:ext cx="5115786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86E8EE-4B91-B84E-ADB0-4C4AD2DE40D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11" name="Date Placeholder 39">
            <a:extLst>
              <a:ext uri="{FF2B5EF4-FFF2-40B4-BE49-F238E27FC236}">
                <a16:creationId xmlns:a16="http://schemas.microsoft.com/office/drawing/2014/main" id="{1BDFE539-7C37-4491-AB51-EFE5FD33EB8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00F828C-C242-4E16-8943-64AB1CA87B73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2148962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50BA58-FD1C-0731-561C-0BE4B7F2B5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22413" y="6356350"/>
            <a:ext cx="1049267" cy="365125"/>
          </a:xfrm>
        </p:spPr>
        <p:txBody>
          <a:bodyPr/>
          <a:lstStyle/>
          <a:p>
            <a:fld id="{D4D29386-AF38-1E42-9A53-7021DFC73B88}" type="datetimeFigureOut">
              <a:rPr lang="en-US" smtClean="0"/>
              <a:t>3/2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3D01F8-F7F4-9087-6B44-FB99518607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9049" y="6356350"/>
            <a:ext cx="6659744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32311D74-E6E5-295D-9FE7-C29E4E29BC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33188" y="6339811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fld id="{A134C65A-A9BE-9F48-B07C-F2CA02A2F7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D5390A5-FB2D-7E8B-6998-42C042E13DE1}"/>
              </a:ext>
            </a:extLst>
          </p:cNvPr>
          <p:cNvSpPr/>
          <p:nvPr userDrawn="1"/>
        </p:nvSpPr>
        <p:spPr>
          <a:xfrm>
            <a:off x="0" y="0"/>
            <a:ext cx="2515506" cy="6858000"/>
          </a:xfrm>
          <a:custGeom>
            <a:avLst/>
            <a:gdLst>
              <a:gd name="csX0" fmla="*/ 0 w 2515506"/>
              <a:gd name="csY0" fmla="*/ 0 h 6858000"/>
              <a:gd name="csX1" fmla="*/ 2515506 w 2515506"/>
              <a:gd name="csY1" fmla="*/ 0 h 6858000"/>
              <a:gd name="csX2" fmla="*/ 893517 w 2515506"/>
              <a:gd name="csY2" fmla="*/ 6858000 h 6858000"/>
              <a:gd name="csX3" fmla="*/ 0 w 2515506"/>
              <a:gd name="csY3" fmla="*/ 6858000 h 6858000"/>
              <a:gd name="csX4" fmla="*/ 0 w 2515506"/>
              <a:gd name="csY4" fmla="*/ 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515506" h="6858000">
                <a:moveTo>
                  <a:pt x="0" y="0"/>
                </a:moveTo>
                <a:lnTo>
                  <a:pt x="2515506" y="0"/>
                </a:lnTo>
                <a:lnTo>
                  <a:pt x="893517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05527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9752472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9810661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82819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356397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806" y="1"/>
            <a:ext cx="12188386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689357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381928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25090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2508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689357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381928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25090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C48384-EFB8-C847-B614-B51B78272A7F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39091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049743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44387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101135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43614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049743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44387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101135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045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5" y="-1"/>
            <a:ext cx="12188390" cy="68580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862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9E599E-0DF3-4BB5-837A-A916B2A284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625917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95" imgH="394" progId="TCLayout.ActiveDocument.1">
                  <p:embed/>
                </p:oleObj>
              </mc:Choice>
              <mc:Fallback>
                <p:oleObj name="think-cell Slide" r:id="rId3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9E599E-0DF3-4BB5-837A-A916B2A28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688A988C-8FC5-B140-870C-808D2E6BF37E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9788" y="667385"/>
            <a:ext cx="8447087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520825"/>
            <a:ext cx="10693400" cy="46380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E3656D3-FE2B-6A44-92B0-3F68D7B9A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0667" y="6339812"/>
            <a:ext cx="41148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ED4E42-D5D3-FC44-A366-76B79312A7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68000" y="6339811"/>
            <a:ext cx="1080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2DB7DE-CC3B-5147-AE8D-3109A1875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3188" y="6339811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8500E30-7857-7640-A456-05EB959AEF0B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0300" y="549155"/>
            <a:ext cx="1525132" cy="539869"/>
          </a:xfrm>
          <a:prstGeom prst="rect">
            <a:avLst/>
          </a:prstGeom>
        </p:spPr>
      </p:pic>
    </p:spTree>
    <p:custDataLst>
      <p:tags r:id="rId32"/>
    </p:custDataLst>
    <p:extLst>
      <p:ext uri="{BB962C8B-B14F-4D97-AF65-F5344CB8AC3E}">
        <p14:creationId xmlns:p14="http://schemas.microsoft.com/office/powerpoint/2010/main" val="2101603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90" r:id="rId28"/>
    <p:sldLayoutId id="2147483693" r:id="rId29"/>
    <p:sldLayoutId id="2147483691" r:id="rId30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357188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493713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669925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00100" indent="-1301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211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4110">
          <p15:clr>
            <a:srgbClr val="F26B43"/>
          </p15:clr>
        </p15:guide>
        <p15:guide id="6" orient="horz" pos="754">
          <p15:clr>
            <a:srgbClr val="F26B43"/>
          </p15:clr>
        </p15:guide>
        <p15:guide id="8" orient="horz" pos="414">
          <p15:clr>
            <a:srgbClr val="F26B43"/>
          </p15:clr>
        </p15:guide>
        <p15:guide id="9" pos="7265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1" orient="horz" pos="3997">
          <p15:clr>
            <a:srgbClr val="F26B43"/>
          </p15:clr>
        </p15:guide>
        <p15:guide id="12" pos="7378">
          <p15:clr>
            <a:srgbClr val="F26B43"/>
          </p15:clr>
        </p15:guide>
        <p15:guide id="13" pos="529">
          <p15:clr>
            <a:srgbClr val="F26B43"/>
          </p15:clr>
        </p15:guide>
        <p15:guide id="14" orient="horz" pos="686">
          <p15:clr>
            <a:srgbClr val="F26B43"/>
          </p15:clr>
        </p15:guide>
        <p15:guide id="15" orient="horz" pos="958">
          <p15:clr>
            <a:srgbClr val="F26B43"/>
          </p15:clr>
        </p15:guide>
        <p15:guide id="16" orient="horz" pos="3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66.svg"/><Relationship Id="rId4" Type="http://schemas.openxmlformats.org/officeDocument/2006/relationships/image" Target="../media/image6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70.png"/><Relationship Id="rId5" Type="http://schemas.openxmlformats.org/officeDocument/2006/relationships/image" Target="../media/image69.jpeg"/><Relationship Id="rId4" Type="http://schemas.openxmlformats.org/officeDocument/2006/relationships/image" Target="../media/image68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74.svg"/><Relationship Id="rId5" Type="http://schemas.openxmlformats.org/officeDocument/2006/relationships/image" Target="../media/image73.png"/><Relationship Id="rId4" Type="http://schemas.openxmlformats.org/officeDocument/2006/relationships/image" Target="../media/image72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3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png"/><Relationship Id="rId3" Type="http://schemas.openxmlformats.org/officeDocument/2006/relationships/image" Target="../media/image43.jpeg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17" Type="http://schemas.openxmlformats.org/officeDocument/2006/relationships/image" Target="../media/image56.jpe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55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6.pn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5" Type="http://schemas.openxmlformats.org/officeDocument/2006/relationships/image" Target="../media/image54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Relationship Id="rId1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58.png"/><Relationship Id="rId5" Type="http://schemas.openxmlformats.org/officeDocument/2006/relationships/customXml" Target="../ink/ink2.xml"/><Relationship Id="rId4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66ECA9-19CA-DBCD-4720-FBBED2C3398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  <a:ea typeface="Source Sans Pro Black" panose="020B0803030403020204" pitchFamily="34" charset="0"/>
              </a:rPr>
              <a:t>Evidence-led curation skills for sensitive data</a:t>
            </a:r>
            <a:br>
              <a:rPr lang="en-US" dirty="0">
                <a:solidFill>
                  <a:srgbClr val="FFFFFF"/>
                </a:solidFill>
                <a:ea typeface="Source Sans Pro Black" panose="020B0803030403020204" pitchFamily="34" charset="0"/>
              </a:rPr>
            </a:b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F621B6-5F57-75D2-F658-81C47980695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GB" sz="2800" dirty="0">
                <a:solidFill>
                  <a:srgbClr val="FFFFFF"/>
                </a:solidFill>
                <a:ea typeface="Segoe UI"/>
                <a:cs typeface="Segoe UI"/>
              </a:rPr>
              <a:t>Hollydawn Murray</a:t>
            </a:r>
            <a:endParaRPr lang="en-US" sz="2800" dirty="0">
              <a:solidFill>
                <a:srgbClr val="3CB28C"/>
              </a:solidFill>
              <a:ea typeface="Calibri" panose="020F0502020204030204"/>
              <a:cs typeface="Calibri" panose="020F0502020204030204"/>
            </a:endParaRPr>
          </a:p>
          <a:p>
            <a:r>
              <a:rPr lang="en-GB" dirty="0">
                <a:solidFill>
                  <a:srgbClr val="FFFFFF"/>
                </a:solidFill>
                <a:ea typeface="Segoe UI"/>
                <a:cs typeface="Segoe UI"/>
              </a:rPr>
              <a:t>Head of Open Science, Research Culture &amp; Impact</a:t>
            </a:r>
            <a:r>
              <a:rPr lang="en-US" dirty="0">
                <a:solidFill>
                  <a:srgbClr val="3CB28C"/>
                </a:solidFill>
                <a:ea typeface="Segoe UI"/>
                <a:cs typeface="Segoe UI"/>
              </a:rPr>
              <a:t>​</a:t>
            </a:r>
            <a:endParaRPr lang="en-US" dirty="0">
              <a:ea typeface="Calibri"/>
              <a:cs typeface="Calibri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62592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8C4978-D02B-B8B5-EA38-8C73E70809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9">
            <a:extLst>
              <a:ext uri="{FF2B5EF4-FFF2-40B4-BE49-F238E27FC236}">
                <a16:creationId xmlns:a16="http://schemas.microsoft.com/office/drawing/2014/main" id="{41A112CC-904A-B2D9-9998-C3D16B970A07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On the topic of training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475DA7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917DCF-4A12-5F7D-CC00-F131CBEC044F}"/>
              </a:ext>
            </a:extLst>
          </p:cNvPr>
          <p:cNvSpPr/>
          <p:nvPr/>
        </p:nvSpPr>
        <p:spPr>
          <a:xfrm>
            <a:off x="8911525" y="1832425"/>
            <a:ext cx="2708057" cy="3529795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0000">
                <a:schemeClr val="tx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11480" rIns="90000" bIns="90000" rtlCol="0" anchor="t"/>
          <a:lstStyle/>
          <a:p>
            <a:pPr algn="ctr">
              <a:defRPr/>
            </a:pPr>
            <a:endParaRPr kumimoji="0" lang="en-US" altLang="en-US" sz="1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ctr">
              <a:defRPr/>
            </a:pP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[There is] a huge range of courses, and, yes, you do get that paralysis thing; I don't know what to choose. Then there's also a lack of courses that are more specifically about sensitive data curation and handling sensitive data, so there's a funny imbalance there.</a:t>
            </a:r>
            <a:b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altLang="en-US" sz="1400" b="1" i="1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's too much choice and not enough choice at the same time</a:t>
            </a:r>
          </a:p>
          <a:p>
            <a:pPr algn="ctr">
              <a:defRPr/>
            </a:pPr>
            <a:endParaRPr lang="en-US" sz="1400" b="1" i="1" u="sng" dirty="0">
              <a:solidFill>
                <a:srgbClr val="FFFFFF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lang="en-US" sz="1200" i="1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Focus group participant</a:t>
            </a:r>
            <a:endParaRPr lang="en-GB" sz="1200" i="1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35ED196-85F1-E301-30F2-98012825D2D2}"/>
              </a:ext>
            </a:extLst>
          </p:cNvPr>
          <p:cNvCxnSpPr>
            <a:cxnSpLocks/>
          </p:cNvCxnSpPr>
          <p:nvPr/>
        </p:nvCxnSpPr>
        <p:spPr>
          <a:xfrm>
            <a:off x="8911525" y="2104916"/>
            <a:ext cx="269791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168C779D-8D56-33E6-28F2-A500FEF62D2C}"/>
              </a:ext>
            </a:extLst>
          </p:cNvPr>
          <p:cNvGrpSpPr/>
          <p:nvPr/>
        </p:nvGrpSpPr>
        <p:grpSpPr>
          <a:xfrm>
            <a:off x="10092423" y="1939894"/>
            <a:ext cx="336114" cy="330044"/>
            <a:chOff x="9408331" y="3564328"/>
            <a:chExt cx="442762" cy="442762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5B872F3-7FAB-4A06-7AEC-88F7783C1299}"/>
                </a:ext>
              </a:extLst>
            </p:cNvPr>
            <p:cNvSpPr/>
            <p:nvPr/>
          </p:nvSpPr>
          <p:spPr>
            <a:xfrm>
              <a:off x="9408331" y="3564328"/>
              <a:ext cx="442762" cy="44276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EB4A0641-5350-ECE5-DDB2-93FCE7DA158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532678" y="3698210"/>
              <a:ext cx="194069" cy="174998"/>
            </a:xfrm>
            <a:custGeom>
              <a:avLst/>
              <a:gdLst>
                <a:gd name="T0" fmla="*/ 50 w 133"/>
                <a:gd name="T1" fmla="*/ 84 h 150"/>
                <a:gd name="T2" fmla="*/ 50 w 133"/>
                <a:gd name="T3" fmla="*/ 150 h 150"/>
                <a:gd name="T4" fmla="*/ 0 w 133"/>
                <a:gd name="T5" fmla="*/ 150 h 150"/>
                <a:gd name="T6" fmla="*/ 0 w 133"/>
                <a:gd name="T7" fmla="*/ 98 h 150"/>
                <a:gd name="T8" fmla="*/ 11 w 133"/>
                <a:gd name="T9" fmla="*/ 33 h 150"/>
                <a:gd name="T10" fmla="*/ 42 w 133"/>
                <a:gd name="T11" fmla="*/ 0 h 150"/>
                <a:gd name="T12" fmla="*/ 54 w 133"/>
                <a:gd name="T13" fmla="*/ 22 h 150"/>
                <a:gd name="T14" fmla="*/ 34 w 133"/>
                <a:gd name="T15" fmla="*/ 42 h 150"/>
                <a:gd name="T16" fmla="*/ 26 w 133"/>
                <a:gd name="T17" fmla="*/ 84 h 150"/>
                <a:gd name="T18" fmla="*/ 50 w 133"/>
                <a:gd name="T19" fmla="*/ 84 h 150"/>
                <a:gd name="T20" fmla="*/ 129 w 133"/>
                <a:gd name="T21" fmla="*/ 84 h 150"/>
                <a:gd name="T22" fmla="*/ 129 w 133"/>
                <a:gd name="T23" fmla="*/ 150 h 150"/>
                <a:gd name="T24" fmla="*/ 79 w 133"/>
                <a:gd name="T25" fmla="*/ 150 h 150"/>
                <a:gd name="T26" fmla="*/ 79 w 133"/>
                <a:gd name="T27" fmla="*/ 98 h 150"/>
                <a:gd name="T28" fmla="*/ 90 w 133"/>
                <a:gd name="T29" fmla="*/ 33 h 150"/>
                <a:gd name="T30" fmla="*/ 122 w 133"/>
                <a:gd name="T31" fmla="*/ 0 h 150"/>
                <a:gd name="T32" fmla="*/ 133 w 133"/>
                <a:gd name="T33" fmla="*/ 22 h 150"/>
                <a:gd name="T34" fmla="*/ 113 w 133"/>
                <a:gd name="T35" fmla="*/ 42 h 150"/>
                <a:gd name="T36" fmla="*/ 105 w 133"/>
                <a:gd name="T37" fmla="*/ 84 h 150"/>
                <a:gd name="T38" fmla="*/ 129 w 133"/>
                <a:gd name="T39" fmla="*/ 8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3" h="150">
                  <a:moveTo>
                    <a:pt x="50" y="84"/>
                  </a:moveTo>
                  <a:cubicBezTo>
                    <a:pt x="50" y="150"/>
                    <a:pt x="50" y="150"/>
                    <a:pt x="50" y="150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69"/>
                    <a:pt x="4" y="47"/>
                    <a:pt x="11" y="33"/>
                  </a:cubicBezTo>
                  <a:cubicBezTo>
                    <a:pt x="18" y="18"/>
                    <a:pt x="28" y="7"/>
                    <a:pt x="42" y="0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45" y="26"/>
                    <a:pt x="38" y="33"/>
                    <a:pt x="34" y="42"/>
                  </a:cubicBezTo>
                  <a:cubicBezTo>
                    <a:pt x="29" y="51"/>
                    <a:pt x="26" y="65"/>
                    <a:pt x="26" y="84"/>
                  </a:cubicBezTo>
                  <a:lnTo>
                    <a:pt x="50" y="84"/>
                  </a:lnTo>
                  <a:close/>
                  <a:moveTo>
                    <a:pt x="129" y="84"/>
                  </a:moveTo>
                  <a:cubicBezTo>
                    <a:pt x="129" y="150"/>
                    <a:pt x="129" y="150"/>
                    <a:pt x="129" y="150"/>
                  </a:cubicBezTo>
                  <a:cubicBezTo>
                    <a:pt x="79" y="150"/>
                    <a:pt x="79" y="150"/>
                    <a:pt x="79" y="150"/>
                  </a:cubicBezTo>
                  <a:cubicBezTo>
                    <a:pt x="79" y="98"/>
                    <a:pt x="79" y="98"/>
                    <a:pt x="79" y="98"/>
                  </a:cubicBezTo>
                  <a:cubicBezTo>
                    <a:pt x="79" y="69"/>
                    <a:pt x="83" y="47"/>
                    <a:pt x="90" y="33"/>
                  </a:cubicBezTo>
                  <a:cubicBezTo>
                    <a:pt x="97" y="18"/>
                    <a:pt x="108" y="7"/>
                    <a:pt x="122" y="0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24" y="26"/>
                    <a:pt x="118" y="33"/>
                    <a:pt x="113" y="42"/>
                  </a:cubicBezTo>
                  <a:cubicBezTo>
                    <a:pt x="108" y="51"/>
                    <a:pt x="105" y="65"/>
                    <a:pt x="105" y="84"/>
                  </a:cubicBezTo>
                  <a:lnTo>
                    <a:pt x="129" y="8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C576E90B-0BEE-893E-744E-4C790F1F200A}"/>
              </a:ext>
            </a:extLst>
          </p:cNvPr>
          <p:cNvSpPr/>
          <p:nvPr/>
        </p:nvSpPr>
        <p:spPr>
          <a:xfrm>
            <a:off x="2489200" y="1708441"/>
            <a:ext cx="5572243" cy="3870948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Google Shape;201;g3a086141320_0_274" title="Q24_training_barriers.png">
            <a:extLst>
              <a:ext uri="{FF2B5EF4-FFF2-40B4-BE49-F238E27FC236}">
                <a16:creationId xmlns:a16="http://schemas.microsoft.com/office/drawing/2014/main" id="{D7AF84A7-FF4E-3119-B8F5-A7FDAD327707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680528" y="1832425"/>
            <a:ext cx="4851647" cy="357648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4DEF106-7794-1BA7-EF24-1B2F464BE0F1}"/>
              </a:ext>
            </a:extLst>
          </p:cNvPr>
          <p:cNvSpPr/>
          <p:nvPr/>
        </p:nvSpPr>
        <p:spPr>
          <a:xfrm>
            <a:off x="2318719" y="6131654"/>
            <a:ext cx="9521986" cy="4868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90000" rIns="90000" bIns="9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y 5% of respondents reported having full training in curation available to them</a:t>
            </a:r>
            <a:r>
              <a:rPr lang="en-US" sz="1400" dirty="0">
                <a:solidFill>
                  <a:srgbClr val="FFFFFF"/>
                </a:solidFill>
                <a:latin typeface="Calibri" panose="020F0502020204030204"/>
              </a:rPr>
              <a:t>; majority of training is self-led or online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465DB8-B804-9E58-2243-AC4223F56AB9}"/>
              </a:ext>
            </a:extLst>
          </p:cNvPr>
          <p:cNvGrpSpPr/>
          <p:nvPr/>
        </p:nvGrpSpPr>
        <p:grpSpPr>
          <a:xfrm>
            <a:off x="2452477" y="6245343"/>
            <a:ext cx="268435" cy="261660"/>
            <a:chOff x="973546" y="5792645"/>
            <a:chExt cx="268435" cy="261660"/>
          </a:xfrm>
        </p:grpSpPr>
        <p:grpSp>
          <p:nvGrpSpPr>
            <p:cNvPr id="17" name="Graphic 53">
              <a:extLst>
                <a:ext uri="{FF2B5EF4-FFF2-40B4-BE49-F238E27FC236}">
                  <a16:creationId xmlns:a16="http://schemas.microsoft.com/office/drawing/2014/main" id="{42EA6DED-679B-D3FF-8770-C267C243F250}"/>
                </a:ext>
              </a:extLst>
            </p:cNvPr>
            <p:cNvGrpSpPr/>
            <p:nvPr/>
          </p:nvGrpSpPr>
          <p:grpSpPr>
            <a:xfrm>
              <a:off x="992671" y="5818974"/>
              <a:ext cx="230014" cy="209345"/>
              <a:chOff x="992671" y="5818974"/>
              <a:chExt cx="230014" cy="209345"/>
            </a:xfrm>
            <a:noFill/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9973F487-418F-1CE1-2E92-D36D9E2A00E1}"/>
                  </a:ext>
                </a:extLst>
              </p:cNvPr>
              <p:cNvSpPr/>
              <p:nvPr/>
            </p:nvSpPr>
            <p:spPr>
              <a:xfrm>
                <a:off x="992671" y="5865971"/>
                <a:ext cx="115350" cy="162347"/>
              </a:xfrm>
              <a:custGeom>
                <a:avLst/>
                <a:gdLst>
                  <a:gd name="csX0" fmla="*/ 115350 w 115350"/>
                  <a:gd name="csY0" fmla="*/ 56260 h 162347"/>
                  <a:gd name="csX1" fmla="*/ 115350 w 115350"/>
                  <a:gd name="csY1" fmla="*/ 149998 h 162347"/>
                  <a:gd name="csX2" fmla="*/ 97512 w 115350"/>
                  <a:gd name="csY2" fmla="*/ 162348 h 162347"/>
                  <a:gd name="csX3" fmla="*/ 17924 w 115350"/>
                  <a:gd name="csY3" fmla="*/ 132074 h 162347"/>
                  <a:gd name="csX4" fmla="*/ 19211 w 115350"/>
                  <a:gd name="csY4" fmla="*/ 125213 h 162347"/>
                  <a:gd name="csX5" fmla="*/ 0 w 115350"/>
                  <a:gd name="csY5" fmla="*/ 106088 h 162347"/>
                  <a:gd name="csX6" fmla="*/ 0 w 115350"/>
                  <a:gd name="csY6" fmla="*/ 12350 h 162347"/>
                  <a:gd name="csX7" fmla="*/ 17924 w 115350"/>
                  <a:gd name="csY7" fmla="*/ 0 h 162347"/>
                  <a:gd name="csX8" fmla="*/ 97597 w 115350"/>
                  <a:gd name="csY8" fmla="*/ 30103 h 162347"/>
                  <a:gd name="csX9" fmla="*/ 96225 w 115350"/>
                  <a:gd name="csY9" fmla="*/ 37135 h 162347"/>
                  <a:gd name="csX10" fmla="*/ 115350 w 115350"/>
                  <a:gd name="csY10" fmla="*/ 56260 h 16234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115350" h="162347">
                    <a:moveTo>
                      <a:pt x="115350" y="56260"/>
                    </a:moveTo>
                    <a:lnTo>
                      <a:pt x="115350" y="149998"/>
                    </a:lnTo>
                    <a:cubicBezTo>
                      <a:pt x="107203" y="149998"/>
                      <a:pt x="100170" y="155144"/>
                      <a:pt x="97512" y="162348"/>
                    </a:cubicBezTo>
                    <a:lnTo>
                      <a:pt x="17924" y="132074"/>
                    </a:lnTo>
                    <a:cubicBezTo>
                      <a:pt x="18782" y="129930"/>
                      <a:pt x="19211" y="127614"/>
                      <a:pt x="19211" y="125213"/>
                    </a:cubicBezTo>
                    <a:cubicBezTo>
                      <a:pt x="19211" y="114664"/>
                      <a:pt x="10549" y="106088"/>
                      <a:pt x="0" y="106088"/>
                    </a:cubicBezTo>
                    <a:lnTo>
                      <a:pt x="0" y="12350"/>
                    </a:lnTo>
                    <a:cubicBezTo>
                      <a:pt x="8147" y="12350"/>
                      <a:pt x="15266" y="7204"/>
                      <a:pt x="17924" y="0"/>
                    </a:cubicBezTo>
                    <a:lnTo>
                      <a:pt x="97597" y="30103"/>
                    </a:lnTo>
                    <a:cubicBezTo>
                      <a:pt x="96740" y="32247"/>
                      <a:pt x="96225" y="34648"/>
                      <a:pt x="96225" y="37135"/>
                    </a:cubicBezTo>
                    <a:cubicBezTo>
                      <a:pt x="96225" y="47684"/>
                      <a:pt x="104801" y="56260"/>
                      <a:pt x="115350" y="56260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B92E299E-3B6B-6451-60A6-C51502AB92DB}"/>
                  </a:ext>
                </a:extLst>
              </p:cNvPr>
              <p:cNvSpPr/>
              <p:nvPr/>
            </p:nvSpPr>
            <p:spPr>
              <a:xfrm>
                <a:off x="1126031" y="5819231"/>
                <a:ext cx="78815" cy="32503"/>
              </a:xfrm>
              <a:custGeom>
                <a:avLst/>
                <a:gdLst>
                  <a:gd name="csX0" fmla="*/ 78815 w 78815"/>
                  <a:gd name="csY0" fmla="*/ 32504 h 32503"/>
                  <a:gd name="csX1" fmla="*/ 0 w 78815"/>
                  <a:gd name="csY1" fmla="*/ 0 h 3250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78815" h="32503">
                    <a:moveTo>
                      <a:pt x="78815" y="32504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76FAF29-97BA-1129-92DE-EBC359EDF6C3}"/>
                  </a:ext>
                </a:extLst>
              </p:cNvPr>
              <p:cNvSpPr/>
              <p:nvPr/>
            </p:nvSpPr>
            <p:spPr>
              <a:xfrm>
                <a:off x="1126031" y="5998045"/>
                <a:ext cx="78729" cy="30188"/>
              </a:xfrm>
              <a:custGeom>
                <a:avLst/>
                <a:gdLst>
                  <a:gd name="csX0" fmla="*/ 78730 w 78729"/>
                  <a:gd name="csY0" fmla="*/ 0 h 30188"/>
                  <a:gd name="csX1" fmla="*/ 0 w 78729"/>
                  <a:gd name="csY1" fmla="*/ 30188 h 3018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78729" h="30188">
                    <a:moveTo>
                      <a:pt x="78730" y="0"/>
                    </a:moveTo>
                    <a:lnTo>
                      <a:pt x="0" y="30188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01EA4F98-1E43-EA14-8701-DBE6192E2835}"/>
                  </a:ext>
                </a:extLst>
              </p:cNvPr>
              <p:cNvSpPr/>
              <p:nvPr/>
            </p:nvSpPr>
            <p:spPr>
              <a:xfrm>
                <a:off x="1222685" y="5878321"/>
                <a:ext cx="8576" cy="93738"/>
              </a:xfrm>
              <a:custGeom>
                <a:avLst/>
                <a:gdLst>
                  <a:gd name="csX0" fmla="*/ 0 w 8576"/>
                  <a:gd name="csY0" fmla="*/ 93738 h 93738"/>
                  <a:gd name="csX1" fmla="*/ 0 w 8576"/>
                  <a:gd name="csY1" fmla="*/ 0 h 937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8576" h="93738">
                    <a:moveTo>
                      <a:pt x="0" y="93738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3C6D81A-2E29-1BA4-6605-975D58F2BFD3}"/>
                  </a:ext>
                </a:extLst>
              </p:cNvPr>
              <p:cNvSpPr/>
              <p:nvPr/>
            </p:nvSpPr>
            <p:spPr>
              <a:xfrm>
                <a:off x="1010424" y="5818974"/>
                <a:ext cx="80101" cy="32846"/>
              </a:xfrm>
              <a:custGeom>
                <a:avLst/>
                <a:gdLst>
                  <a:gd name="csX0" fmla="*/ 80102 w 80101"/>
                  <a:gd name="csY0" fmla="*/ 0 h 32846"/>
                  <a:gd name="csX1" fmla="*/ 0 w 80101"/>
                  <a:gd name="csY1" fmla="*/ 32847 h 3284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80101" h="32846">
                    <a:moveTo>
                      <a:pt x="80102" y="0"/>
                    </a:moveTo>
                    <a:lnTo>
                      <a:pt x="0" y="32847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3B9FF68-9C7E-3204-ED20-B19E3F599D77}"/>
                  </a:ext>
                </a:extLst>
              </p:cNvPr>
              <p:cNvSpPr/>
              <p:nvPr/>
            </p:nvSpPr>
            <p:spPr>
              <a:xfrm>
                <a:off x="1125945" y="5865971"/>
                <a:ext cx="78815" cy="30016"/>
              </a:xfrm>
              <a:custGeom>
                <a:avLst/>
                <a:gdLst>
                  <a:gd name="csX0" fmla="*/ 78815 w 78815"/>
                  <a:gd name="csY0" fmla="*/ 0 h 30016"/>
                  <a:gd name="csX1" fmla="*/ 0 w 78815"/>
                  <a:gd name="csY1" fmla="*/ 30017 h 3001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78815" h="30016">
                    <a:moveTo>
                      <a:pt x="78815" y="0"/>
                    </a:moveTo>
                    <a:lnTo>
                      <a:pt x="0" y="30017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1454511-EA6C-B2DC-F2D9-3D2C448C654C}"/>
                </a:ext>
              </a:extLst>
            </p:cNvPr>
            <p:cNvSpPr/>
            <p:nvPr/>
          </p:nvSpPr>
          <p:spPr>
            <a:xfrm>
              <a:off x="1088982" y="5883724"/>
              <a:ext cx="38421" cy="38421"/>
            </a:xfrm>
            <a:custGeom>
              <a:avLst/>
              <a:gdLst>
                <a:gd name="csX0" fmla="*/ 38336 w 38421"/>
                <a:gd name="csY0" fmla="*/ 19297 h 38421"/>
                <a:gd name="csX1" fmla="*/ 19125 w 38421"/>
                <a:gd name="csY1" fmla="*/ 38421 h 38421"/>
                <a:gd name="csX2" fmla="*/ 0 w 38421"/>
                <a:gd name="csY2" fmla="*/ 19297 h 38421"/>
                <a:gd name="csX3" fmla="*/ 1372 w 38421"/>
                <a:gd name="csY3" fmla="*/ 12264 h 38421"/>
                <a:gd name="csX4" fmla="*/ 19211 w 38421"/>
                <a:gd name="csY4" fmla="*/ 0 h 38421"/>
                <a:gd name="csX5" fmla="*/ 37049 w 38421"/>
                <a:gd name="csY5" fmla="*/ 12178 h 38421"/>
                <a:gd name="csX6" fmla="*/ 38421 w 38421"/>
                <a:gd name="csY6" fmla="*/ 19297 h 3842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8421" h="38421">
                  <a:moveTo>
                    <a:pt x="38336" y="19297"/>
                  </a:moveTo>
                  <a:cubicBezTo>
                    <a:pt x="38336" y="29845"/>
                    <a:pt x="29759" y="38421"/>
                    <a:pt x="19125" y="38421"/>
                  </a:cubicBezTo>
                  <a:cubicBezTo>
                    <a:pt x="8490" y="38421"/>
                    <a:pt x="0" y="29845"/>
                    <a:pt x="0" y="19297"/>
                  </a:cubicBezTo>
                  <a:cubicBezTo>
                    <a:pt x="0" y="16809"/>
                    <a:pt x="515" y="14408"/>
                    <a:pt x="1372" y="12264"/>
                  </a:cubicBezTo>
                  <a:cubicBezTo>
                    <a:pt x="4202" y="5146"/>
                    <a:pt x="11063" y="0"/>
                    <a:pt x="19211" y="0"/>
                  </a:cubicBezTo>
                  <a:cubicBezTo>
                    <a:pt x="27358" y="0"/>
                    <a:pt x="34219" y="4974"/>
                    <a:pt x="37049" y="12178"/>
                  </a:cubicBezTo>
                  <a:cubicBezTo>
                    <a:pt x="37907" y="14322"/>
                    <a:pt x="38421" y="16724"/>
                    <a:pt x="38421" y="19297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1F0F40F-F6C0-4DE8-9053-CB2EA94FBEEE}"/>
                </a:ext>
              </a:extLst>
            </p:cNvPr>
            <p:cNvSpPr/>
            <p:nvPr/>
          </p:nvSpPr>
          <p:spPr>
            <a:xfrm>
              <a:off x="973546" y="5839900"/>
              <a:ext cx="38421" cy="38335"/>
            </a:xfrm>
            <a:custGeom>
              <a:avLst/>
              <a:gdLst>
                <a:gd name="csX0" fmla="*/ 38336 w 38421"/>
                <a:gd name="csY0" fmla="*/ 19211 h 38335"/>
                <a:gd name="csX1" fmla="*/ 37049 w 38421"/>
                <a:gd name="csY1" fmla="*/ 25986 h 38335"/>
                <a:gd name="csX2" fmla="*/ 19125 w 38421"/>
                <a:gd name="csY2" fmla="*/ 38336 h 38335"/>
                <a:gd name="csX3" fmla="*/ 0 w 38421"/>
                <a:gd name="csY3" fmla="*/ 19211 h 38335"/>
                <a:gd name="csX4" fmla="*/ 19125 w 38421"/>
                <a:gd name="csY4" fmla="*/ 0 h 38335"/>
                <a:gd name="csX5" fmla="*/ 36964 w 38421"/>
                <a:gd name="csY5" fmla="*/ 11921 h 38335"/>
                <a:gd name="csX6" fmla="*/ 38421 w 38421"/>
                <a:gd name="csY6" fmla="*/ 19211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8421" h="38335">
                  <a:moveTo>
                    <a:pt x="38336" y="19211"/>
                  </a:moveTo>
                  <a:cubicBezTo>
                    <a:pt x="38336" y="21612"/>
                    <a:pt x="37907" y="23928"/>
                    <a:pt x="37049" y="25986"/>
                  </a:cubicBezTo>
                  <a:cubicBezTo>
                    <a:pt x="34305" y="33190"/>
                    <a:pt x="27272" y="38336"/>
                    <a:pt x="19125" y="38336"/>
                  </a:cubicBezTo>
                  <a:cubicBezTo>
                    <a:pt x="8576" y="38336"/>
                    <a:pt x="0" y="29760"/>
                    <a:pt x="0" y="19211"/>
                  </a:cubicBezTo>
                  <a:cubicBezTo>
                    <a:pt x="0" y="8576"/>
                    <a:pt x="8576" y="0"/>
                    <a:pt x="19125" y="0"/>
                  </a:cubicBezTo>
                  <a:cubicBezTo>
                    <a:pt x="27101" y="0"/>
                    <a:pt x="34048" y="4974"/>
                    <a:pt x="36964" y="11921"/>
                  </a:cubicBezTo>
                  <a:cubicBezTo>
                    <a:pt x="37907" y="14151"/>
                    <a:pt x="38421" y="16638"/>
                    <a:pt x="38421" y="19211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11242A0-254A-01D9-6AC1-5FF59697395C}"/>
                </a:ext>
              </a:extLst>
            </p:cNvPr>
            <p:cNvSpPr/>
            <p:nvPr/>
          </p:nvSpPr>
          <p:spPr>
            <a:xfrm>
              <a:off x="1203474" y="5839900"/>
              <a:ext cx="38507" cy="38335"/>
            </a:xfrm>
            <a:custGeom>
              <a:avLst/>
              <a:gdLst>
                <a:gd name="csX0" fmla="*/ 38421 w 38507"/>
                <a:gd name="csY0" fmla="*/ 19211 h 38335"/>
                <a:gd name="csX1" fmla="*/ 19211 w 38507"/>
                <a:gd name="csY1" fmla="*/ 38336 h 38335"/>
                <a:gd name="csX2" fmla="*/ 1286 w 38507"/>
                <a:gd name="csY2" fmla="*/ 26072 h 38335"/>
                <a:gd name="csX3" fmla="*/ 0 w 38507"/>
                <a:gd name="csY3" fmla="*/ 19211 h 38335"/>
                <a:gd name="csX4" fmla="*/ 1458 w 38507"/>
                <a:gd name="csY4" fmla="*/ 11835 h 38335"/>
                <a:gd name="csX5" fmla="*/ 19296 w 38507"/>
                <a:gd name="csY5" fmla="*/ 0 h 38335"/>
                <a:gd name="csX6" fmla="*/ 38507 w 38507"/>
                <a:gd name="csY6" fmla="*/ 19211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8507" h="38335">
                  <a:moveTo>
                    <a:pt x="38421" y="19211"/>
                  </a:moveTo>
                  <a:cubicBezTo>
                    <a:pt x="38421" y="29760"/>
                    <a:pt x="29759" y="38336"/>
                    <a:pt x="19211" y="38336"/>
                  </a:cubicBezTo>
                  <a:cubicBezTo>
                    <a:pt x="11063" y="38336"/>
                    <a:pt x="4031" y="33276"/>
                    <a:pt x="1286" y="26072"/>
                  </a:cubicBezTo>
                  <a:cubicBezTo>
                    <a:pt x="429" y="23928"/>
                    <a:pt x="0" y="21612"/>
                    <a:pt x="0" y="19211"/>
                  </a:cubicBezTo>
                  <a:cubicBezTo>
                    <a:pt x="0" y="16552"/>
                    <a:pt x="515" y="14065"/>
                    <a:pt x="1458" y="11835"/>
                  </a:cubicBezTo>
                  <a:cubicBezTo>
                    <a:pt x="4374" y="4803"/>
                    <a:pt x="11235" y="0"/>
                    <a:pt x="19296" y="0"/>
                  </a:cubicBezTo>
                  <a:cubicBezTo>
                    <a:pt x="29845" y="0"/>
                    <a:pt x="38507" y="8576"/>
                    <a:pt x="38507" y="19211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B8F47D7-4692-3D97-6DE0-B8AD0F167640}"/>
                </a:ext>
              </a:extLst>
            </p:cNvPr>
            <p:cNvSpPr/>
            <p:nvPr/>
          </p:nvSpPr>
          <p:spPr>
            <a:xfrm>
              <a:off x="1088982" y="6015970"/>
              <a:ext cx="38335" cy="38335"/>
            </a:xfrm>
            <a:custGeom>
              <a:avLst/>
              <a:gdLst>
                <a:gd name="csX0" fmla="*/ 38336 w 38335"/>
                <a:gd name="csY0" fmla="*/ 19125 h 38335"/>
                <a:gd name="csX1" fmla="*/ 19125 w 38335"/>
                <a:gd name="csY1" fmla="*/ 38336 h 38335"/>
                <a:gd name="csX2" fmla="*/ 0 w 38335"/>
                <a:gd name="csY2" fmla="*/ 19125 h 38335"/>
                <a:gd name="csX3" fmla="*/ 1286 w 38335"/>
                <a:gd name="csY3" fmla="*/ 12350 h 38335"/>
                <a:gd name="csX4" fmla="*/ 19125 w 38335"/>
                <a:gd name="csY4" fmla="*/ 0 h 38335"/>
                <a:gd name="csX5" fmla="*/ 37049 w 38335"/>
                <a:gd name="csY5" fmla="*/ 12264 h 38335"/>
                <a:gd name="csX6" fmla="*/ 38336 w 38335"/>
                <a:gd name="csY6" fmla="*/ 19125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8335" h="38335">
                  <a:moveTo>
                    <a:pt x="38336" y="19125"/>
                  </a:moveTo>
                  <a:cubicBezTo>
                    <a:pt x="38336" y="29759"/>
                    <a:pt x="29759" y="38336"/>
                    <a:pt x="19125" y="38336"/>
                  </a:cubicBezTo>
                  <a:cubicBezTo>
                    <a:pt x="8490" y="38336"/>
                    <a:pt x="0" y="29759"/>
                    <a:pt x="0" y="19125"/>
                  </a:cubicBezTo>
                  <a:cubicBezTo>
                    <a:pt x="0" y="16724"/>
                    <a:pt x="429" y="14408"/>
                    <a:pt x="1286" y="12350"/>
                  </a:cubicBezTo>
                  <a:cubicBezTo>
                    <a:pt x="4031" y="5146"/>
                    <a:pt x="10978" y="0"/>
                    <a:pt x="19125" y="0"/>
                  </a:cubicBezTo>
                  <a:cubicBezTo>
                    <a:pt x="27272" y="0"/>
                    <a:pt x="34305" y="5060"/>
                    <a:pt x="37049" y="12264"/>
                  </a:cubicBezTo>
                  <a:cubicBezTo>
                    <a:pt x="37907" y="14408"/>
                    <a:pt x="38336" y="16724"/>
                    <a:pt x="38336" y="19125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17A2537-13D2-A21F-A14A-1E684CA3E9AB}"/>
                </a:ext>
              </a:extLst>
            </p:cNvPr>
            <p:cNvSpPr/>
            <p:nvPr/>
          </p:nvSpPr>
          <p:spPr>
            <a:xfrm>
              <a:off x="973546" y="5972059"/>
              <a:ext cx="38335" cy="38335"/>
            </a:xfrm>
            <a:custGeom>
              <a:avLst/>
              <a:gdLst>
                <a:gd name="csX0" fmla="*/ 38336 w 38335"/>
                <a:gd name="csY0" fmla="*/ 19125 h 38335"/>
                <a:gd name="csX1" fmla="*/ 37049 w 38335"/>
                <a:gd name="csY1" fmla="*/ 25986 h 38335"/>
                <a:gd name="csX2" fmla="*/ 19125 w 38335"/>
                <a:gd name="csY2" fmla="*/ 38336 h 38335"/>
                <a:gd name="csX3" fmla="*/ 0 w 38335"/>
                <a:gd name="csY3" fmla="*/ 19125 h 38335"/>
                <a:gd name="csX4" fmla="*/ 19125 w 38335"/>
                <a:gd name="csY4" fmla="*/ 0 h 38335"/>
                <a:gd name="csX5" fmla="*/ 38336 w 38335"/>
                <a:gd name="csY5" fmla="*/ 19125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38335" h="38335">
                  <a:moveTo>
                    <a:pt x="38336" y="19125"/>
                  </a:moveTo>
                  <a:cubicBezTo>
                    <a:pt x="38336" y="21526"/>
                    <a:pt x="37907" y="23842"/>
                    <a:pt x="37049" y="25986"/>
                  </a:cubicBezTo>
                  <a:cubicBezTo>
                    <a:pt x="34305" y="33190"/>
                    <a:pt x="27272" y="38336"/>
                    <a:pt x="19125" y="38336"/>
                  </a:cubicBezTo>
                  <a:cubicBezTo>
                    <a:pt x="8576" y="38336"/>
                    <a:pt x="0" y="29759"/>
                    <a:pt x="0" y="19125"/>
                  </a:cubicBezTo>
                  <a:cubicBezTo>
                    <a:pt x="0" y="8490"/>
                    <a:pt x="8576" y="0"/>
                    <a:pt x="19125" y="0"/>
                  </a:cubicBezTo>
                  <a:cubicBezTo>
                    <a:pt x="29674" y="0"/>
                    <a:pt x="38336" y="8576"/>
                    <a:pt x="38336" y="19125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668E9C4-3633-DB5A-A4A3-95B9A18C173D}"/>
                </a:ext>
              </a:extLst>
            </p:cNvPr>
            <p:cNvSpPr/>
            <p:nvPr/>
          </p:nvSpPr>
          <p:spPr>
            <a:xfrm>
              <a:off x="1203474" y="5972059"/>
              <a:ext cx="38421" cy="38335"/>
            </a:xfrm>
            <a:custGeom>
              <a:avLst/>
              <a:gdLst>
                <a:gd name="csX0" fmla="*/ 38421 w 38421"/>
                <a:gd name="csY0" fmla="*/ 19125 h 38335"/>
                <a:gd name="csX1" fmla="*/ 19211 w 38421"/>
                <a:gd name="csY1" fmla="*/ 38336 h 38335"/>
                <a:gd name="csX2" fmla="*/ 1286 w 38421"/>
                <a:gd name="csY2" fmla="*/ 25986 h 38335"/>
                <a:gd name="csX3" fmla="*/ 0 w 38421"/>
                <a:gd name="csY3" fmla="*/ 19125 h 38335"/>
                <a:gd name="csX4" fmla="*/ 19211 w 38421"/>
                <a:gd name="csY4" fmla="*/ 0 h 38335"/>
                <a:gd name="csX5" fmla="*/ 38421 w 38421"/>
                <a:gd name="csY5" fmla="*/ 19125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38421" h="38335">
                  <a:moveTo>
                    <a:pt x="38421" y="19125"/>
                  </a:moveTo>
                  <a:cubicBezTo>
                    <a:pt x="38421" y="29759"/>
                    <a:pt x="29759" y="38336"/>
                    <a:pt x="19211" y="38336"/>
                  </a:cubicBezTo>
                  <a:cubicBezTo>
                    <a:pt x="11063" y="38336"/>
                    <a:pt x="3945" y="33190"/>
                    <a:pt x="1286" y="25986"/>
                  </a:cubicBezTo>
                  <a:cubicBezTo>
                    <a:pt x="429" y="23842"/>
                    <a:pt x="0" y="21526"/>
                    <a:pt x="0" y="19125"/>
                  </a:cubicBezTo>
                  <a:cubicBezTo>
                    <a:pt x="0" y="8576"/>
                    <a:pt x="8662" y="0"/>
                    <a:pt x="19211" y="0"/>
                  </a:cubicBezTo>
                  <a:cubicBezTo>
                    <a:pt x="29759" y="0"/>
                    <a:pt x="38421" y="8576"/>
                    <a:pt x="38421" y="19125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336C469-0AA7-FFC8-BE3F-B7827E828120}"/>
                </a:ext>
              </a:extLst>
            </p:cNvPr>
            <p:cNvSpPr/>
            <p:nvPr/>
          </p:nvSpPr>
          <p:spPr>
            <a:xfrm>
              <a:off x="1088982" y="5792645"/>
              <a:ext cx="38507" cy="38335"/>
            </a:xfrm>
            <a:custGeom>
              <a:avLst/>
              <a:gdLst>
                <a:gd name="csX0" fmla="*/ 38507 w 38507"/>
                <a:gd name="csY0" fmla="*/ 19125 h 38335"/>
                <a:gd name="csX1" fmla="*/ 36964 w 38507"/>
                <a:gd name="csY1" fmla="*/ 26586 h 38335"/>
                <a:gd name="csX2" fmla="*/ 36964 w 38507"/>
                <a:gd name="csY2" fmla="*/ 26586 h 38335"/>
                <a:gd name="csX3" fmla="*/ 19211 w 38507"/>
                <a:gd name="csY3" fmla="*/ 38336 h 38335"/>
                <a:gd name="csX4" fmla="*/ 1458 w 38507"/>
                <a:gd name="csY4" fmla="*/ 26415 h 38335"/>
                <a:gd name="csX5" fmla="*/ 0 w 38507"/>
                <a:gd name="csY5" fmla="*/ 19211 h 38335"/>
                <a:gd name="csX6" fmla="*/ 19125 w 38507"/>
                <a:gd name="csY6" fmla="*/ 0 h 38335"/>
                <a:gd name="csX7" fmla="*/ 38336 w 38507"/>
                <a:gd name="csY7" fmla="*/ 19211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38507" h="38335">
                  <a:moveTo>
                    <a:pt x="38507" y="19125"/>
                  </a:moveTo>
                  <a:cubicBezTo>
                    <a:pt x="38507" y="21784"/>
                    <a:pt x="37907" y="24271"/>
                    <a:pt x="36964" y="26586"/>
                  </a:cubicBezTo>
                  <a:lnTo>
                    <a:pt x="36964" y="26586"/>
                  </a:lnTo>
                  <a:cubicBezTo>
                    <a:pt x="33962" y="33533"/>
                    <a:pt x="27187" y="38336"/>
                    <a:pt x="19211" y="38336"/>
                  </a:cubicBezTo>
                  <a:cubicBezTo>
                    <a:pt x="11235" y="38336"/>
                    <a:pt x="4374" y="33362"/>
                    <a:pt x="1458" y="26415"/>
                  </a:cubicBezTo>
                  <a:cubicBezTo>
                    <a:pt x="515" y="24185"/>
                    <a:pt x="0" y="21784"/>
                    <a:pt x="0" y="19211"/>
                  </a:cubicBezTo>
                  <a:cubicBezTo>
                    <a:pt x="0" y="8576"/>
                    <a:pt x="8576" y="0"/>
                    <a:pt x="19125" y="0"/>
                  </a:cubicBezTo>
                  <a:cubicBezTo>
                    <a:pt x="29674" y="0"/>
                    <a:pt x="38336" y="8576"/>
                    <a:pt x="38336" y="19211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2" name="Oval 31">
            <a:extLst>
              <a:ext uri="{FF2B5EF4-FFF2-40B4-BE49-F238E27FC236}">
                <a16:creationId xmlns:a16="http://schemas.microsoft.com/office/drawing/2014/main" id="{2A91FDEC-87C4-B2E2-A87D-63E41E7015A0}"/>
              </a:ext>
            </a:extLst>
          </p:cNvPr>
          <p:cNvSpPr/>
          <p:nvPr/>
        </p:nvSpPr>
        <p:spPr>
          <a:xfrm>
            <a:off x="2354782" y="6178342"/>
            <a:ext cx="346834" cy="36152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6" name="Graphic 35" descr="Badge Unfollow outline">
            <a:extLst>
              <a:ext uri="{FF2B5EF4-FFF2-40B4-BE49-F238E27FC236}">
                <a16:creationId xmlns:a16="http://schemas.microsoft.com/office/drawing/2014/main" id="{93C6E768-6F94-9CEF-E9BF-0CA8689213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96366" y="6222956"/>
            <a:ext cx="275939" cy="275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0851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E183E7-4376-BAE8-EE9B-6B409BF404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9">
            <a:extLst>
              <a:ext uri="{FF2B5EF4-FFF2-40B4-BE49-F238E27FC236}">
                <a16:creationId xmlns:a16="http://schemas.microsoft.com/office/drawing/2014/main" id="{CB35B567-9849-6D9F-24A9-38447F66A661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And skill gap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475DA7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93861A8-ADED-F04C-63FB-732791E1A40B}"/>
              </a:ext>
            </a:extLst>
          </p:cNvPr>
          <p:cNvSpPr/>
          <p:nvPr/>
        </p:nvSpPr>
        <p:spPr>
          <a:xfrm>
            <a:off x="3117629" y="1396296"/>
            <a:ext cx="7924166" cy="4291581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79D2D9-8858-0EBC-D3FF-E49F4809D101}"/>
              </a:ext>
            </a:extLst>
          </p:cNvPr>
          <p:cNvSpPr/>
          <p:nvPr/>
        </p:nvSpPr>
        <p:spPr>
          <a:xfrm>
            <a:off x="2318719" y="6131654"/>
            <a:ext cx="9521986" cy="4868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90000" rIns="90000" bIns="9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</a:t>
            </a:r>
            <a:r>
              <a:rPr lang="en-US" sz="1400" dirty="0" err="1">
                <a:solidFill>
                  <a:srgbClr val="FFFFFF"/>
                </a:solidFill>
                <a:latin typeface="Calibri" panose="020F0502020204030204"/>
              </a:rPr>
              <a:t>veral</a:t>
            </a:r>
            <a:r>
              <a:rPr lang="en-US" sz="1400" dirty="0">
                <a:solidFill>
                  <a:srgbClr val="FFFFFF"/>
                </a:solidFill>
                <a:latin typeface="Calibri" panose="020F0502020204030204"/>
              </a:rPr>
              <a:t> 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l gaps exist, across career stages an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ypes, despite the central role curation plays in dat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it</a:t>
            </a:r>
            <a:r>
              <a:rPr lang="en-US" sz="1400" dirty="0">
                <a:solidFill>
                  <a:srgbClr val="FFFFFF"/>
                </a:solidFill>
                <a:latin typeface="Calibri" panose="020F0502020204030204"/>
              </a:rPr>
              <a:t>y.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2A9BCB2-90D6-7B70-155D-49388ADB6279}"/>
              </a:ext>
            </a:extLst>
          </p:cNvPr>
          <p:cNvGrpSpPr/>
          <p:nvPr/>
        </p:nvGrpSpPr>
        <p:grpSpPr>
          <a:xfrm>
            <a:off x="2452477" y="6245343"/>
            <a:ext cx="268435" cy="261660"/>
            <a:chOff x="973546" y="5792645"/>
            <a:chExt cx="268435" cy="261660"/>
          </a:xfrm>
        </p:grpSpPr>
        <p:grpSp>
          <p:nvGrpSpPr>
            <p:cNvPr id="17" name="Graphic 53">
              <a:extLst>
                <a:ext uri="{FF2B5EF4-FFF2-40B4-BE49-F238E27FC236}">
                  <a16:creationId xmlns:a16="http://schemas.microsoft.com/office/drawing/2014/main" id="{66CDF7C2-3D14-1CF0-F338-67D141680F68}"/>
                </a:ext>
              </a:extLst>
            </p:cNvPr>
            <p:cNvGrpSpPr/>
            <p:nvPr/>
          </p:nvGrpSpPr>
          <p:grpSpPr>
            <a:xfrm>
              <a:off x="992671" y="5818974"/>
              <a:ext cx="230014" cy="209345"/>
              <a:chOff x="992671" y="5818974"/>
              <a:chExt cx="230014" cy="209345"/>
            </a:xfrm>
            <a:noFill/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D05F6ED6-241B-6C99-0713-FFF4E98820C7}"/>
                  </a:ext>
                </a:extLst>
              </p:cNvPr>
              <p:cNvSpPr/>
              <p:nvPr/>
            </p:nvSpPr>
            <p:spPr>
              <a:xfrm>
                <a:off x="992671" y="5865971"/>
                <a:ext cx="115350" cy="162347"/>
              </a:xfrm>
              <a:custGeom>
                <a:avLst/>
                <a:gdLst>
                  <a:gd name="csX0" fmla="*/ 115350 w 115350"/>
                  <a:gd name="csY0" fmla="*/ 56260 h 162347"/>
                  <a:gd name="csX1" fmla="*/ 115350 w 115350"/>
                  <a:gd name="csY1" fmla="*/ 149998 h 162347"/>
                  <a:gd name="csX2" fmla="*/ 97512 w 115350"/>
                  <a:gd name="csY2" fmla="*/ 162348 h 162347"/>
                  <a:gd name="csX3" fmla="*/ 17924 w 115350"/>
                  <a:gd name="csY3" fmla="*/ 132074 h 162347"/>
                  <a:gd name="csX4" fmla="*/ 19211 w 115350"/>
                  <a:gd name="csY4" fmla="*/ 125213 h 162347"/>
                  <a:gd name="csX5" fmla="*/ 0 w 115350"/>
                  <a:gd name="csY5" fmla="*/ 106088 h 162347"/>
                  <a:gd name="csX6" fmla="*/ 0 w 115350"/>
                  <a:gd name="csY6" fmla="*/ 12350 h 162347"/>
                  <a:gd name="csX7" fmla="*/ 17924 w 115350"/>
                  <a:gd name="csY7" fmla="*/ 0 h 162347"/>
                  <a:gd name="csX8" fmla="*/ 97597 w 115350"/>
                  <a:gd name="csY8" fmla="*/ 30103 h 162347"/>
                  <a:gd name="csX9" fmla="*/ 96225 w 115350"/>
                  <a:gd name="csY9" fmla="*/ 37135 h 162347"/>
                  <a:gd name="csX10" fmla="*/ 115350 w 115350"/>
                  <a:gd name="csY10" fmla="*/ 56260 h 16234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115350" h="162347">
                    <a:moveTo>
                      <a:pt x="115350" y="56260"/>
                    </a:moveTo>
                    <a:lnTo>
                      <a:pt x="115350" y="149998"/>
                    </a:lnTo>
                    <a:cubicBezTo>
                      <a:pt x="107203" y="149998"/>
                      <a:pt x="100170" y="155144"/>
                      <a:pt x="97512" y="162348"/>
                    </a:cubicBezTo>
                    <a:lnTo>
                      <a:pt x="17924" y="132074"/>
                    </a:lnTo>
                    <a:cubicBezTo>
                      <a:pt x="18782" y="129930"/>
                      <a:pt x="19211" y="127614"/>
                      <a:pt x="19211" y="125213"/>
                    </a:cubicBezTo>
                    <a:cubicBezTo>
                      <a:pt x="19211" y="114664"/>
                      <a:pt x="10549" y="106088"/>
                      <a:pt x="0" y="106088"/>
                    </a:cubicBezTo>
                    <a:lnTo>
                      <a:pt x="0" y="12350"/>
                    </a:lnTo>
                    <a:cubicBezTo>
                      <a:pt x="8147" y="12350"/>
                      <a:pt x="15266" y="7204"/>
                      <a:pt x="17924" y="0"/>
                    </a:cubicBezTo>
                    <a:lnTo>
                      <a:pt x="97597" y="30103"/>
                    </a:lnTo>
                    <a:cubicBezTo>
                      <a:pt x="96740" y="32247"/>
                      <a:pt x="96225" y="34648"/>
                      <a:pt x="96225" y="37135"/>
                    </a:cubicBezTo>
                    <a:cubicBezTo>
                      <a:pt x="96225" y="47684"/>
                      <a:pt x="104801" y="56260"/>
                      <a:pt x="115350" y="56260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506536A4-553D-5CDB-B227-40D93CB9183A}"/>
                  </a:ext>
                </a:extLst>
              </p:cNvPr>
              <p:cNvSpPr/>
              <p:nvPr/>
            </p:nvSpPr>
            <p:spPr>
              <a:xfrm>
                <a:off x="1126031" y="5819231"/>
                <a:ext cx="78815" cy="32503"/>
              </a:xfrm>
              <a:custGeom>
                <a:avLst/>
                <a:gdLst>
                  <a:gd name="csX0" fmla="*/ 78815 w 78815"/>
                  <a:gd name="csY0" fmla="*/ 32504 h 32503"/>
                  <a:gd name="csX1" fmla="*/ 0 w 78815"/>
                  <a:gd name="csY1" fmla="*/ 0 h 3250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78815" h="32503">
                    <a:moveTo>
                      <a:pt x="78815" y="32504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7A56C2BB-2DD2-3C3A-E7A2-A14AD1B43477}"/>
                  </a:ext>
                </a:extLst>
              </p:cNvPr>
              <p:cNvSpPr/>
              <p:nvPr/>
            </p:nvSpPr>
            <p:spPr>
              <a:xfrm>
                <a:off x="1126031" y="5998045"/>
                <a:ext cx="78729" cy="30188"/>
              </a:xfrm>
              <a:custGeom>
                <a:avLst/>
                <a:gdLst>
                  <a:gd name="csX0" fmla="*/ 78730 w 78729"/>
                  <a:gd name="csY0" fmla="*/ 0 h 30188"/>
                  <a:gd name="csX1" fmla="*/ 0 w 78729"/>
                  <a:gd name="csY1" fmla="*/ 30188 h 3018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78729" h="30188">
                    <a:moveTo>
                      <a:pt x="78730" y="0"/>
                    </a:moveTo>
                    <a:lnTo>
                      <a:pt x="0" y="30188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DF5BAE47-DF4F-4259-0187-BECE4B837C5C}"/>
                  </a:ext>
                </a:extLst>
              </p:cNvPr>
              <p:cNvSpPr/>
              <p:nvPr/>
            </p:nvSpPr>
            <p:spPr>
              <a:xfrm>
                <a:off x="1222685" y="5878321"/>
                <a:ext cx="8576" cy="93738"/>
              </a:xfrm>
              <a:custGeom>
                <a:avLst/>
                <a:gdLst>
                  <a:gd name="csX0" fmla="*/ 0 w 8576"/>
                  <a:gd name="csY0" fmla="*/ 93738 h 93738"/>
                  <a:gd name="csX1" fmla="*/ 0 w 8576"/>
                  <a:gd name="csY1" fmla="*/ 0 h 937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8576" h="93738">
                    <a:moveTo>
                      <a:pt x="0" y="93738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DF048FA9-AF21-17BD-2195-D60BAC4BD3F5}"/>
                  </a:ext>
                </a:extLst>
              </p:cNvPr>
              <p:cNvSpPr/>
              <p:nvPr/>
            </p:nvSpPr>
            <p:spPr>
              <a:xfrm>
                <a:off x="1010424" y="5818974"/>
                <a:ext cx="80101" cy="32846"/>
              </a:xfrm>
              <a:custGeom>
                <a:avLst/>
                <a:gdLst>
                  <a:gd name="csX0" fmla="*/ 80102 w 80101"/>
                  <a:gd name="csY0" fmla="*/ 0 h 32846"/>
                  <a:gd name="csX1" fmla="*/ 0 w 80101"/>
                  <a:gd name="csY1" fmla="*/ 32847 h 3284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80101" h="32846">
                    <a:moveTo>
                      <a:pt x="80102" y="0"/>
                    </a:moveTo>
                    <a:lnTo>
                      <a:pt x="0" y="32847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B1E6D3EE-04FC-4B8F-7856-817B2E2A4849}"/>
                  </a:ext>
                </a:extLst>
              </p:cNvPr>
              <p:cNvSpPr/>
              <p:nvPr/>
            </p:nvSpPr>
            <p:spPr>
              <a:xfrm>
                <a:off x="1125945" y="5865971"/>
                <a:ext cx="78815" cy="30016"/>
              </a:xfrm>
              <a:custGeom>
                <a:avLst/>
                <a:gdLst>
                  <a:gd name="csX0" fmla="*/ 78815 w 78815"/>
                  <a:gd name="csY0" fmla="*/ 0 h 30016"/>
                  <a:gd name="csX1" fmla="*/ 0 w 78815"/>
                  <a:gd name="csY1" fmla="*/ 30017 h 3001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78815" h="30016">
                    <a:moveTo>
                      <a:pt x="78815" y="0"/>
                    </a:moveTo>
                    <a:lnTo>
                      <a:pt x="0" y="30017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90ED2E7-5269-3F4E-3526-7F0B9C47243B}"/>
                </a:ext>
              </a:extLst>
            </p:cNvPr>
            <p:cNvSpPr/>
            <p:nvPr/>
          </p:nvSpPr>
          <p:spPr>
            <a:xfrm>
              <a:off x="1088982" y="5883724"/>
              <a:ext cx="38421" cy="38421"/>
            </a:xfrm>
            <a:custGeom>
              <a:avLst/>
              <a:gdLst>
                <a:gd name="csX0" fmla="*/ 38336 w 38421"/>
                <a:gd name="csY0" fmla="*/ 19297 h 38421"/>
                <a:gd name="csX1" fmla="*/ 19125 w 38421"/>
                <a:gd name="csY1" fmla="*/ 38421 h 38421"/>
                <a:gd name="csX2" fmla="*/ 0 w 38421"/>
                <a:gd name="csY2" fmla="*/ 19297 h 38421"/>
                <a:gd name="csX3" fmla="*/ 1372 w 38421"/>
                <a:gd name="csY3" fmla="*/ 12264 h 38421"/>
                <a:gd name="csX4" fmla="*/ 19211 w 38421"/>
                <a:gd name="csY4" fmla="*/ 0 h 38421"/>
                <a:gd name="csX5" fmla="*/ 37049 w 38421"/>
                <a:gd name="csY5" fmla="*/ 12178 h 38421"/>
                <a:gd name="csX6" fmla="*/ 38421 w 38421"/>
                <a:gd name="csY6" fmla="*/ 19297 h 3842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8421" h="38421">
                  <a:moveTo>
                    <a:pt x="38336" y="19297"/>
                  </a:moveTo>
                  <a:cubicBezTo>
                    <a:pt x="38336" y="29845"/>
                    <a:pt x="29759" y="38421"/>
                    <a:pt x="19125" y="38421"/>
                  </a:cubicBezTo>
                  <a:cubicBezTo>
                    <a:pt x="8490" y="38421"/>
                    <a:pt x="0" y="29845"/>
                    <a:pt x="0" y="19297"/>
                  </a:cubicBezTo>
                  <a:cubicBezTo>
                    <a:pt x="0" y="16809"/>
                    <a:pt x="515" y="14408"/>
                    <a:pt x="1372" y="12264"/>
                  </a:cubicBezTo>
                  <a:cubicBezTo>
                    <a:pt x="4202" y="5146"/>
                    <a:pt x="11063" y="0"/>
                    <a:pt x="19211" y="0"/>
                  </a:cubicBezTo>
                  <a:cubicBezTo>
                    <a:pt x="27358" y="0"/>
                    <a:pt x="34219" y="4974"/>
                    <a:pt x="37049" y="12178"/>
                  </a:cubicBezTo>
                  <a:cubicBezTo>
                    <a:pt x="37907" y="14322"/>
                    <a:pt x="38421" y="16724"/>
                    <a:pt x="38421" y="19297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A347FAA-343F-2045-B6B6-46440328392B}"/>
                </a:ext>
              </a:extLst>
            </p:cNvPr>
            <p:cNvSpPr/>
            <p:nvPr/>
          </p:nvSpPr>
          <p:spPr>
            <a:xfrm>
              <a:off x="973546" y="5839900"/>
              <a:ext cx="38421" cy="38335"/>
            </a:xfrm>
            <a:custGeom>
              <a:avLst/>
              <a:gdLst>
                <a:gd name="csX0" fmla="*/ 38336 w 38421"/>
                <a:gd name="csY0" fmla="*/ 19211 h 38335"/>
                <a:gd name="csX1" fmla="*/ 37049 w 38421"/>
                <a:gd name="csY1" fmla="*/ 25986 h 38335"/>
                <a:gd name="csX2" fmla="*/ 19125 w 38421"/>
                <a:gd name="csY2" fmla="*/ 38336 h 38335"/>
                <a:gd name="csX3" fmla="*/ 0 w 38421"/>
                <a:gd name="csY3" fmla="*/ 19211 h 38335"/>
                <a:gd name="csX4" fmla="*/ 19125 w 38421"/>
                <a:gd name="csY4" fmla="*/ 0 h 38335"/>
                <a:gd name="csX5" fmla="*/ 36964 w 38421"/>
                <a:gd name="csY5" fmla="*/ 11921 h 38335"/>
                <a:gd name="csX6" fmla="*/ 38421 w 38421"/>
                <a:gd name="csY6" fmla="*/ 19211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8421" h="38335">
                  <a:moveTo>
                    <a:pt x="38336" y="19211"/>
                  </a:moveTo>
                  <a:cubicBezTo>
                    <a:pt x="38336" y="21612"/>
                    <a:pt x="37907" y="23928"/>
                    <a:pt x="37049" y="25986"/>
                  </a:cubicBezTo>
                  <a:cubicBezTo>
                    <a:pt x="34305" y="33190"/>
                    <a:pt x="27272" y="38336"/>
                    <a:pt x="19125" y="38336"/>
                  </a:cubicBezTo>
                  <a:cubicBezTo>
                    <a:pt x="8576" y="38336"/>
                    <a:pt x="0" y="29760"/>
                    <a:pt x="0" y="19211"/>
                  </a:cubicBezTo>
                  <a:cubicBezTo>
                    <a:pt x="0" y="8576"/>
                    <a:pt x="8576" y="0"/>
                    <a:pt x="19125" y="0"/>
                  </a:cubicBezTo>
                  <a:cubicBezTo>
                    <a:pt x="27101" y="0"/>
                    <a:pt x="34048" y="4974"/>
                    <a:pt x="36964" y="11921"/>
                  </a:cubicBezTo>
                  <a:cubicBezTo>
                    <a:pt x="37907" y="14151"/>
                    <a:pt x="38421" y="16638"/>
                    <a:pt x="38421" y="19211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4A8BE1D-4108-1630-22A2-9C5B1311250D}"/>
                </a:ext>
              </a:extLst>
            </p:cNvPr>
            <p:cNvSpPr/>
            <p:nvPr/>
          </p:nvSpPr>
          <p:spPr>
            <a:xfrm>
              <a:off x="1203474" y="5839900"/>
              <a:ext cx="38507" cy="38335"/>
            </a:xfrm>
            <a:custGeom>
              <a:avLst/>
              <a:gdLst>
                <a:gd name="csX0" fmla="*/ 38421 w 38507"/>
                <a:gd name="csY0" fmla="*/ 19211 h 38335"/>
                <a:gd name="csX1" fmla="*/ 19211 w 38507"/>
                <a:gd name="csY1" fmla="*/ 38336 h 38335"/>
                <a:gd name="csX2" fmla="*/ 1286 w 38507"/>
                <a:gd name="csY2" fmla="*/ 26072 h 38335"/>
                <a:gd name="csX3" fmla="*/ 0 w 38507"/>
                <a:gd name="csY3" fmla="*/ 19211 h 38335"/>
                <a:gd name="csX4" fmla="*/ 1458 w 38507"/>
                <a:gd name="csY4" fmla="*/ 11835 h 38335"/>
                <a:gd name="csX5" fmla="*/ 19296 w 38507"/>
                <a:gd name="csY5" fmla="*/ 0 h 38335"/>
                <a:gd name="csX6" fmla="*/ 38507 w 38507"/>
                <a:gd name="csY6" fmla="*/ 19211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8507" h="38335">
                  <a:moveTo>
                    <a:pt x="38421" y="19211"/>
                  </a:moveTo>
                  <a:cubicBezTo>
                    <a:pt x="38421" y="29760"/>
                    <a:pt x="29759" y="38336"/>
                    <a:pt x="19211" y="38336"/>
                  </a:cubicBezTo>
                  <a:cubicBezTo>
                    <a:pt x="11063" y="38336"/>
                    <a:pt x="4031" y="33276"/>
                    <a:pt x="1286" y="26072"/>
                  </a:cubicBezTo>
                  <a:cubicBezTo>
                    <a:pt x="429" y="23928"/>
                    <a:pt x="0" y="21612"/>
                    <a:pt x="0" y="19211"/>
                  </a:cubicBezTo>
                  <a:cubicBezTo>
                    <a:pt x="0" y="16552"/>
                    <a:pt x="515" y="14065"/>
                    <a:pt x="1458" y="11835"/>
                  </a:cubicBezTo>
                  <a:cubicBezTo>
                    <a:pt x="4374" y="4803"/>
                    <a:pt x="11235" y="0"/>
                    <a:pt x="19296" y="0"/>
                  </a:cubicBezTo>
                  <a:cubicBezTo>
                    <a:pt x="29845" y="0"/>
                    <a:pt x="38507" y="8576"/>
                    <a:pt x="38507" y="19211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9468CC9-2FFE-A948-D0AD-DF166D3B13F8}"/>
                </a:ext>
              </a:extLst>
            </p:cNvPr>
            <p:cNvSpPr/>
            <p:nvPr/>
          </p:nvSpPr>
          <p:spPr>
            <a:xfrm>
              <a:off x="1088982" y="6015970"/>
              <a:ext cx="38335" cy="38335"/>
            </a:xfrm>
            <a:custGeom>
              <a:avLst/>
              <a:gdLst>
                <a:gd name="csX0" fmla="*/ 38336 w 38335"/>
                <a:gd name="csY0" fmla="*/ 19125 h 38335"/>
                <a:gd name="csX1" fmla="*/ 19125 w 38335"/>
                <a:gd name="csY1" fmla="*/ 38336 h 38335"/>
                <a:gd name="csX2" fmla="*/ 0 w 38335"/>
                <a:gd name="csY2" fmla="*/ 19125 h 38335"/>
                <a:gd name="csX3" fmla="*/ 1286 w 38335"/>
                <a:gd name="csY3" fmla="*/ 12350 h 38335"/>
                <a:gd name="csX4" fmla="*/ 19125 w 38335"/>
                <a:gd name="csY4" fmla="*/ 0 h 38335"/>
                <a:gd name="csX5" fmla="*/ 37049 w 38335"/>
                <a:gd name="csY5" fmla="*/ 12264 h 38335"/>
                <a:gd name="csX6" fmla="*/ 38336 w 38335"/>
                <a:gd name="csY6" fmla="*/ 19125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8335" h="38335">
                  <a:moveTo>
                    <a:pt x="38336" y="19125"/>
                  </a:moveTo>
                  <a:cubicBezTo>
                    <a:pt x="38336" y="29759"/>
                    <a:pt x="29759" y="38336"/>
                    <a:pt x="19125" y="38336"/>
                  </a:cubicBezTo>
                  <a:cubicBezTo>
                    <a:pt x="8490" y="38336"/>
                    <a:pt x="0" y="29759"/>
                    <a:pt x="0" y="19125"/>
                  </a:cubicBezTo>
                  <a:cubicBezTo>
                    <a:pt x="0" y="16724"/>
                    <a:pt x="429" y="14408"/>
                    <a:pt x="1286" y="12350"/>
                  </a:cubicBezTo>
                  <a:cubicBezTo>
                    <a:pt x="4031" y="5146"/>
                    <a:pt x="10978" y="0"/>
                    <a:pt x="19125" y="0"/>
                  </a:cubicBezTo>
                  <a:cubicBezTo>
                    <a:pt x="27272" y="0"/>
                    <a:pt x="34305" y="5060"/>
                    <a:pt x="37049" y="12264"/>
                  </a:cubicBezTo>
                  <a:cubicBezTo>
                    <a:pt x="37907" y="14408"/>
                    <a:pt x="38336" y="16724"/>
                    <a:pt x="38336" y="19125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5994883-36E0-54ED-DA15-775EDE1B3AED}"/>
                </a:ext>
              </a:extLst>
            </p:cNvPr>
            <p:cNvSpPr/>
            <p:nvPr/>
          </p:nvSpPr>
          <p:spPr>
            <a:xfrm>
              <a:off x="973546" y="5972059"/>
              <a:ext cx="38335" cy="38335"/>
            </a:xfrm>
            <a:custGeom>
              <a:avLst/>
              <a:gdLst>
                <a:gd name="csX0" fmla="*/ 38336 w 38335"/>
                <a:gd name="csY0" fmla="*/ 19125 h 38335"/>
                <a:gd name="csX1" fmla="*/ 37049 w 38335"/>
                <a:gd name="csY1" fmla="*/ 25986 h 38335"/>
                <a:gd name="csX2" fmla="*/ 19125 w 38335"/>
                <a:gd name="csY2" fmla="*/ 38336 h 38335"/>
                <a:gd name="csX3" fmla="*/ 0 w 38335"/>
                <a:gd name="csY3" fmla="*/ 19125 h 38335"/>
                <a:gd name="csX4" fmla="*/ 19125 w 38335"/>
                <a:gd name="csY4" fmla="*/ 0 h 38335"/>
                <a:gd name="csX5" fmla="*/ 38336 w 38335"/>
                <a:gd name="csY5" fmla="*/ 19125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38335" h="38335">
                  <a:moveTo>
                    <a:pt x="38336" y="19125"/>
                  </a:moveTo>
                  <a:cubicBezTo>
                    <a:pt x="38336" y="21526"/>
                    <a:pt x="37907" y="23842"/>
                    <a:pt x="37049" y="25986"/>
                  </a:cubicBezTo>
                  <a:cubicBezTo>
                    <a:pt x="34305" y="33190"/>
                    <a:pt x="27272" y="38336"/>
                    <a:pt x="19125" y="38336"/>
                  </a:cubicBezTo>
                  <a:cubicBezTo>
                    <a:pt x="8576" y="38336"/>
                    <a:pt x="0" y="29759"/>
                    <a:pt x="0" y="19125"/>
                  </a:cubicBezTo>
                  <a:cubicBezTo>
                    <a:pt x="0" y="8490"/>
                    <a:pt x="8576" y="0"/>
                    <a:pt x="19125" y="0"/>
                  </a:cubicBezTo>
                  <a:cubicBezTo>
                    <a:pt x="29674" y="0"/>
                    <a:pt x="38336" y="8576"/>
                    <a:pt x="38336" y="19125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756C258-55F6-13D8-587F-CF54D95C268A}"/>
                </a:ext>
              </a:extLst>
            </p:cNvPr>
            <p:cNvSpPr/>
            <p:nvPr/>
          </p:nvSpPr>
          <p:spPr>
            <a:xfrm>
              <a:off x="1203474" y="5972059"/>
              <a:ext cx="38421" cy="38335"/>
            </a:xfrm>
            <a:custGeom>
              <a:avLst/>
              <a:gdLst>
                <a:gd name="csX0" fmla="*/ 38421 w 38421"/>
                <a:gd name="csY0" fmla="*/ 19125 h 38335"/>
                <a:gd name="csX1" fmla="*/ 19211 w 38421"/>
                <a:gd name="csY1" fmla="*/ 38336 h 38335"/>
                <a:gd name="csX2" fmla="*/ 1286 w 38421"/>
                <a:gd name="csY2" fmla="*/ 25986 h 38335"/>
                <a:gd name="csX3" fmla="*/ 0 w 38421"/>
                <a:gd name="csY3" fmla="*/ 19125 h 38335"/>
                <a:gd name="csX4" fmla="*/ 19211 w 38421"/>
                <a:gd name="csY4" fmla="*/ 0 h 38335"/>
                <a:gd name="csX5" fmla="*/ 38421 w 38421"/>
                <a:gd name="csY5" fmla="*/ 19125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38421" h="38335">
                  <a:moveTo>
                    <a:pt x="38421" y="19125"/>
                  </a:moveTo>
                  <a:cubicBezTo>
                    <a:pt x="38421" y="29759"/>
                    <a:pt x="29759" y="38336"/>
                    <a:pt x="19211" y="38336"/>
                  </a:cubicBezTo>
                  <a:cubicBezTo>
                    <a:pt x="11063" y="38336"/>
                    <a:pt x="3945" y="33190"/>
                    <a:pt x="1286" y="25986"/>
                  </a:cubicBezTo>
                  <a:cubicBezTo>
                    <a:pt x="429" y="23842"/>
                    <a:pt x="0" y="21526"/>
                    <a:pt x="0" y="19125"/>
                  </a:cubicBezTo>
                  <a:cubicBezTo>
                    <a:pt x="0" y="8576"/>
                    <a:pt x="8662" y="0"/>
                    <a:pt x="19211" y="0"/>
                  </a:cubicBezTo>
                  <a:cubicBezTo>
                    <a:pt x="29759" y="0"/>
                    <a:pt x="38421" y="8576"/>
                    <a:pt x="38421" y="19125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DF33D8-1FC1-11D1-6B74-E12EA025EC9F}"/>
                </a:ext>
              </a:extLst>
            </p:cNvPr>
            <p:cNvSpPr/>
            <p:nvPr/>
          </p:nvSpPr>
          <p:spPr>
            <a:xfrm>
              <a:off x="1088982" y="5792645"/>
              <a:ext cx="38507" cy="38335"/>
            </a:xfrm>
            <a:custGeom>
              <a:avLst/>
              <a:gdLst>
                <a:gd name="csX0" fmla="*/ 38507 w 38507"/>
                <a:gd name="csY0" fmla="*/ 19125 h 38335"/>
                <a:gd name="csX1" fmla="*/ 36964 w 38507"/>
                <a:gd name="csY1" fmla="*/ 26586 h 38335"/>
                <a:gd name="csX2" fmla="*/ 36964 w 38507"/>
                <a:gd name="csY2" fmla="*/ 26586 h 38335"/>
                <a:gd name="csX3" fmla="*/ 19211 w 38507"/>
                <a:gd name="csY3" fmla="*/ 38336 h 38335"/>
                <a:gd name="csX4" fmla="*/ 1458 w 38507"/>
                <a:gd name="csY4" fmla="*/ 26415 h 38335"/>
                <a:gd name="csX5" fmla="*/ 0 w 38507"/>
                <a:gd name="csY5" fmla="*/ 19211 h 38335"/>
                <a:gd name="csX6" fmla="*/ 19125 w 38507"/>
                <a:gd name="csY6" fmla="*/ 0 h 38335"/>
                <a:gd name="csX7" fmla="*/ 38336 w 38507"/>
                <a:gd name="csY7" fmla="*/ 19211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38507" h="38335">
                  <a:moveTo>
                    <a:pt x="38507" y="19125"/>
                  </a:moveTo>
                  <a:cubicBezTo>
                    <a:pt x="38507" y="21784"/>
                    <a:pt x="37907" y="24271"/>
                    <a:pt x="36964" y="26586"/>
                  </a:cubicBezTo>
                  <a:lnTo>
                    <a:pt x="36964" y="26586"/>
                  </a:lnTo>
                  <a:cubicBezTo>
                    <a:pt x="33962" y="33533"/>
                    <a:pt x="27187" y="38336"/>
                    <a:pt x="19211" y="38336"/>
                  </a:cubicBezTo>
                  <a:cubicBezTo>
                    <a:pt x="11235" y="38336"/>
                    <a:pt x="4374" y="33362"/>
                    <a:pt x="1458" y="26415"/>
                  </a:cubicBezTo>
                  <a:cubicBezTo>
                    <a:pt x="515" y="24185"/>
                    <a:pt x="0" y="21784"/>
                    <a:pt x="0" y="19211"/>
                  </a:cubicBezTo>
                  <a:cubicBezTo>
                    <a:pt x="0" y="8576"/>
                    <a:pt x="8576" y="0"/>
                    <a:pt x="19125" y="0"/>
                  </a:cubicBezTo>
                  <a:cubicBezTo>
                    <a:pt x="29674" y="0"/>
                    <a:pt x="38336" y="8576"/>
                    <a:pt x="38336" y="19211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" name="Google Shape;186;g3a086141320_0_172" title="Q17_need_training_by_Q16_least_well_equipped_overall.png">
            <a:extLst>
              <a:ext uri="{FF2B5EF4-FFF2-40B4-BE49-F238E27FC236}">
                <a16:creationId xmlns:a16="http://schemas.microsoft.com/office/drawing/2014/main" id="{559EFA56-9DD6-EF22-0590-FC2AF5C4043A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rcRect b="61972"/>
          <a:stretch>
            <a:fillRect/>
          </a:stretch>
        </p:blipFill>
        <p:spPr>
          <a:xfrm>
            <a:off x="3117629" y="1495191"/>
            <a:ext cx="7924166" cy="4013007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87;g3a086141320_0_172">
            <a:extLst>
              <a:ext uri="{FF2B5EF4-FFF2-40B4-BE49-F238E27FC236}">
                <a16:creationId xmlns:a16="http://schemas.microsoft.com/office/drawing/2014/main" id="{C07E3543-497A-E26F-F3F9-346397FCFADD}"/>
              </a:ext>
            </a:extLst>
          </p:cNvPr>
          <p:cNvSpPr/>
          <p:nvPr/>
        </p:nvSpPr>
        <p:spPr>
          <a:xfrm>
            <a:off x="2682405" y="2286845"/>
            <a:ext cx="8910276" cy="1399107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DC3E60B-8DEF-9321-7E8F-2A9D26BB687E}"/>
              </a:ext>
            </a:extLst>
          </p:cNvPr>
          <p:cNvSpPr/>
          <p:nvPr/>
        </p:nvSpPr>
        <p:spPr>
          <a:xfrm>
            <a:off x="2418950" y="6178342"/>
            <a:ext cx="346834" cy="36152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3" name="Graphic 32" descr="Rating 1 Star with solid fill">
            <a:extLst>
              <a:ext uri="{FF2B5EF4-FFF2-40B4-BE49-F238E27FC236}">
                <a16:creationId xmlns:a16="http://schemas.microsoft.com/office/drawing/2014/main" id="{DD0B6D8B-9F1B-4CD3-3C2B-89DEBA80A0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22355" y="6183631"/>
            <a:ext cx="365560" cy="365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4033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144952-2129-3F8B-422F-74C0BE5637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9">
            <a:extLst>
              <a:ext uri="{FF2B5EF4-FFF2-40B4-BE49-F238E27FC236}">
                <a16:creationId xmlns:a16="http://schemas.microsoft.com/office/drawing/2014/main" id="{2F247AA3-7AA6-FF16-6E14-7697CC7C39A6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ext step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475DA7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A7985C8-6174-6857-C900-93E3879BC4AD}"/>
              </a:ext>
            </a:extLst>
          </p:cNvPr>
          <p:cNvSpPr/>
          <p:nvPr/>
        </p:nvSpPr>
        <p:spPr>
          <a:xfrm>
            <a:off x="2281492" y="1810726"/>
            <a:ext cx="6159943" cy="47910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576000" rIns="91440" anchor="ctr">
            <a:no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Develop and pilot a foundational TRE Literacy curriculum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D0339B3-BBB5-FD17-D1EE-8C3DB67B386D}"/>
              </a:ext>
            </a:extLst>
          </p:cNvPr>
          <p:cNvSpPr/>
          <p:nvPr/>
        </p:nvSpPr>
        <p:spPr>
          <a:xfrm>
            <a:off x="2381883" y="1863104"/>
            <a:ext cx="374351" cy="37435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DFC2320-5878-1961-B638-CDFB4F31A0B7}"/>
              </a:ext>
            </a:extLst>
          </p:cNvPr>
          <p:cNvSpPr/>
          <p:nvPr/>
        </p:nvSpPr>
        <p:spPr>
          <a:xfrm>
            <a:off x="2281492" y="2289833"/>
            <a:ext cx="6159943" cy="4791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90000" rIns="91440" anchor="ctr">
            <a:no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Cross-discipline curriculum will embed high-priority skills (including legal obligations and emerging AI considerations) within applied learn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A6DE5C-E5AD-87BB-8FE0-28230A938DA2}"/>
              </a:ext>
            </a:extLst>
          </p:cNvPr>
          <p:cNvSpPr/>
          <p:nvPr/>
        </p:nvSpPr>
        <p:spPr>
          <a:xfrm>
            <a:off x="2281492" y="2985808"/>
            <a:ext cx="6159943" cy="47910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576000" rIns="91440" anchor="ctr">
            <a:no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Test a ‘Train the Trainer’ model in TRE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754C48B-D786-68EF-04AA-F2F9C1993D91}"/>
              </a:ext>
            </a:extLst>
          </p:cNvPr>
          <p:cNvSpPr/>
          <p:nvPr/>
        </p:nvSpPr>
        <p:spPr>
          <a:xfrm>
            <a:off x="2381883" y="3038186"/>
            <a:ext cx="374351" cy="37435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1745F52-848A-603C-5FE1-C2011FA5EF45}"/>
              </a:ext>
            </a:extLst>
          </p:cNvPr>
          <p:cNvSpPr/>
          <p:nvPr/>
        </p:nvSpPr>
        <p:spPr>
          <a:xfrm>
            <a:off x="2281492" y="3464915"/>
            <a:ext cx="6159943" cy="4791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90000" rIns="91440" anchor="ctr">
            <a:no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Use a flipped classroom model, combining self-led online modules with in-person workshops, providing flexibility and sustainability/scalability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BE9481-55AE-BDC1-5949-1C3F779BC292}"/>
              </a:ext>
            </a:extLst>
          </p:cNvPr>
          <p:cNvSpPr/>
          <p:nvPr/>
        </p:nvSpPr>
        <p:spPr>
          <a:xfrm>
            <a:off x="2281492" y="4160890"/>
            <a:ext cx="6159943" cy="47910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576000" rIns="91440" anchor="ctr">
            <a:no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Improve sector-wide connectivity and visibility of skills development activity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A2F429D-5E91-572B-5935-73F085F328C5}"/>
              </a:ext>
            </a:extLst>
          </p:cNvPr>
          <p:cNvSpPr/>
          <p:nvPr/>
        </p:nvSpPr>
        <p:spPr>
          <a:xfrm>
            <a:off x="2381883" y="4213268"/>
            <a:ext cx="374351" cy="37435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9B54F62-74CD-7A26-9D36-31C29C155338}"/>
              </a:ext>
            </a:extLst>
          </p:cNvPr>
          <p:cNvSpPr/>
          <p:nvPr/>
        </p:nvSpPr>
        <p:spPr>
          <a:xfrm>
            <a:off x="2281492" y="4639997"/>
            <a:ext cx="6159943" cy="4791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90000" rIns="91440" anchor="ctr">
            <a:no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Strengthen knowledge exchange, surface existing training and communities of practice, and align future priorities, including via an in-person Skills Summit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9F6477AF-47C4-64ED-6367-48EF2DDA33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71745" y="1912093"/>
            <a:ext cx="194628" cy="276372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77D3BCD4-D019-0A60-F781-189733E2A7B0}"/>
              </a:ext>
            </a:extLst>
          </p:cNvPr>
          <p:cNvGrpSpPr/>
          <p:nvPr/>
        </p:nvGrpSpPr>
        <p:grpSpPr>
          <a:xfrm>
            <a:off x="2432757" y="3152224"/>
            <a:ext cx="272969" cy="144845"/>
            <a:chOff x="2400673" y="3023888"/>
            <a:chExt cx="272969" cy="144845"/>
          </a:xfrm>
        </p:grpSpPr>
        <p:grpSp>
          <p:nvGrpSpPr>
            <p:cNvPr id="38" name="Graphic 11">
              <a:extLst>
                <a:ext uri="{FF2B5EF4-FFF2-40B4-BE49-F238E27FC236}">
                  <a16:creationId xmlns:a16="http://schemas.microsoft.com/office/drawing/2014/main" id="{BAFC616C-125C-A6BD-8459-C69E689458F5}"/>
                </a:ext>
              </a:extLst>
            </p:cNvPr>
            <p:cNvGrpSpPr/>
            <p:nvPr/>
          </p:nvGrpSpPr>
          <p:grpSpPr>
            <a:xfrm>
              <a:off x="2457870" y="3029539"/>
              <a:ext cx="155932" cy="139194"/>
              <a:chOff x="2457870" y="3029539"/>
              <a:chExt cx="155932" cy="139194"/>
            </a:xfrm>
            <a:noFill/>
          </p:grpSpPr>
          <p:grpSp>
            <p:nvGrpSpPr>
              <p:cNvPr id="53" name="Graphic 11">
                <a:extLst>
                  <a:ext uri="{FF2B5EF4-FFF2-40B4-BE49-F238E27FC236}">
                    <a16:creationId xmlns:a16="http://schemas.microsoft.com/office/drawing/2014/main" id="{D37B1222-96A4-F9E1-8728-DC04E024D6B5}"/>
                  </a:ext>
                </a:extLst>
              </p:cNvPr>
              <p:cNvGrpSpPr/>
              <p:nvPr/>
            </p:nvGrpSpPr>
            <p:grpSpPr>
              <a:xfrm>
                <a:off x="2457870" y="3067083"/>
                <a:ext cx="155932" cy="101651"/>
                <a:chOff x="2457870" y="3067083"/>
                <a:chExt cx="155932" cy="101651"/>
              </a:xfrm>
              <a:noFill/>
            </p:grpSpPr>
            <p:sp>
              <p:nvSpPr>
                <p:cNvPr id="57" name="Freeform: Shape 56">
                  <a:extLst>
                    <a:ext uri="{FF2B5EF4-FFF2-40B4-BE49-F238E27FC236}">
                      <a16:creationId xmlns:a16="http://schemas.microsoft.com/office/drawing/2014/main" id="{66A7231F-37D6-F5E1-AAF2-651943BB87FA}"/>
                    </a:ext>
                  </a:extLst>
                </p:cNvPr>
                <p:cNvSpPr/>
                <p:nvPr/>
              </p:nvSpPr>
              <p:spPr>
                <a:xfrm>
                  <a:off x="2457870" y="3067083"/>
                  <a:ext cx="67768" cy="58119"/>
                </a:xfrm>
                <a:custGeom>
                  <a:avLst/>
                  <a:gdLst>
                    <a:gd name="csX0" fmla="*/ 40774 w 67768"/>
                    <a:gd name="csY0" fmla="*/ 12090 h 58119"/>
                    <a:gd name="csX1" fmla="*/ 35655 w 67768"/>
                    <a:gd name="csY1" fmla="*/ 1685 h 58119"/>
                    <a:gd name="csX2" fmla="*/ 27609 w 67768"/>
                    <a:gd name="csY2" fmla="*/ 3513 h 58119"/>
                    <a:gd name="csX3" fmla="*/ 4604 w 67768"/>
                    <a:gd name="csY3" fmla="*/ 44271 h 58119"/>
                    <a:gd name="csX4" fmla="*/ 2310 w 67768"/>
                    <a:gd name="csY4" fmla="*/ 47728 h 58119"/>
                    <a:gd name="csX5" fmla="*/ 3441 w 67768"/>
                    <a:gd name="csY5" fmla="*/ 56904 h 58119"/>
                    <a:gd name="csX6" fmla="*/ 14345 w 67768"/>
                    <a:gd name="csY6" fmla="*/ 54610 h 58119"/>
                    <a:gd name="csX7" fmla="*/ 35522 w 67768"/>
                    <a:gd name="csY7" fmla="*/ 18373 h 58119"/>
                    <a:gd name="csX8" fmla="*/ 46525 w 67768"/>
                    <a:gd name="csY8" fmla="*/ 12057 h 58119"/>
                    <a:gd name="csX9" fmla="*/ 61452 w 67768"/>
                    <a:gd name="csY9" fmla="*/ 12057 h 58119"/>
                    <a:gd name="csX10" fmla="*/ 67769 w 67768"/>
                    <a:gd name="csY10" fmla="*/ 13786 h 5811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67768" h="58119">
                      <a:moveTo>
                        <a:pt x="40774" y="12090"/>
                      </a:moveTo>
                      <a:cubicBezTo>
                        <a:pt x="40309" y="8001"/>
                        <a:pt x="39777" y="4145"/>
                        <a:pt x="35655" y="1685"/>
                      </a:cubicBezTo>
                      <a:cubicBezTo>
                        <a:pt x="31599" y="-775"/>
                        <a:pt x="30103" y="-842"/>
                        <a:pt x="27609" y="3513"/>
                      </a:cubicBezTo>
                      <a:cubicBezTo>
                        <a:pt x="19863" y="17044"/>
                        <a:pt x="12251" y="30674"/>
                        <a:pt x="4604" y="44271"/>
                      </a:cubicBezTo>
                      <a:cubicBezTo>
                        <a:pt x="3939" y="45468"/>
                        <a:pt x="3042" y="46565"/>
                        <a:pt x="2310" y="47728"/>
                      </a:cubicBezTo>
                      <a:cubicBezTo>
                        <a:pt x="-1014" y="53147"/>
                        <a:pt x="-848" y="54444"/>
                        <a:pt x="3441" y="56904"/>
                      </a:cubicBezTo>
                      <a:cubicBezTo>
                        <a:pt x="7364" y="59164"/>
                        <a:pt x="12217" y="58200"/>
                        <a:pt x="14345" y="54610"/>
                      </a:cubicBezTo>
                      <a:cubicBezTo>
                        <a:pt x="21459" y="42575"/>
                        <a:pt x="28673" y="30574"/>
                        <a:pt x="35522" y="18373"/>
                      </a:cubicBezTo>
                      <a:cubicBezTo>
                        <a:pt x="38081" y="13819"/>
                        <a:pt x="41373" y="11791"/>
                        <a:pt x="46525" y="12057"/>
                      </a:cubicBezTo>
                      <a:cubicBezTo>
                        <a:pt x="51479" y="12290"/>
                        <a:pt x="56465" y="12157"/>
                        <a:pt x="61452" y="12057"/>
                      </a:cubicBezTo>
                      <a:cubicBezTo>
                        <a:pt x="63746" y="12057"/>
                        <a:pt x="65973" y="12090"/>
                        <a:pt x="67769" y="13786"/>
                      </a:cubicBezTo>
                    </a:path>
                  </a:pathLst>
                </a:custGeom>
                <a:noFill/>
                <a:ln w="9525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id="{C50D40DA-B9F5-FA1C-75D8-34899FA03AE2}"/>
                    </a:ext>
                  </a:extLst>
                </p:cNvPr>
                <p:cNvSpPr/>
                <p:nvPr/>
              </p:nvSpPr>
              <p:spPr>
                <a:xfrm>
                  <a:off x="2517403" y="3075516"/>
                  <a:ext cx="96399" cy="62898"/>
                </a:xfrm>
                <a:custGeom>
                  <a:avLst/>
                  <a:gdLst>
                    <a:gd name="csX0" fmla="*/ 59930 w 96399"/>
                    <a:gd name="csY0" fmla="*/ 8843 h 62898"/>
                    <a:gd name="csX1" fmla="*/ 79245 w 96399"/>
                    <a:gd name="csY1" fmla="*/ 46276 h 62898"/>
                    <a:gd name="csX2" fmla="*/ 89185 w 96399"/>
                    <a:gd name="csY2" fmla="*/ 50565 h 62898"/>
                    <a:gd name="csX3" fmla="*/ 96399 w 96399"/>
                    <a:gd name="csY3" fmla="*/ 46442 h 62898"/>
                    <a:gd name="csX4" fmla="*/ 71067 w 96399"/>
                    <a:gd name="csY4" fmla="*/ 0 h 62898"/>
                    <a:gd name="csX5" fmla="*/ 61726 w 96399"/>
                    <a:gd name="csY5" fmla="*/ 6050 h 62898"/>
                    <a:gd name="csX6" fmla="*/ 55343 w 96399"/>
                    <a:gd name="csY6" fmla="*/ 8278 h 62898"/>
                    <a:gd name="csX7" fmla="*/ 23727 w 96399"/>
                    <a:gd name="csY7" fmla="*/ 3989 h 62898"/>
                    <a:gd name="csX8" fmla="*/ 5210 w 96399"/>
                    <a:gd name="csY8" fmla="*/ 8743 h 62898"/>
                    <a:gd name="csX9" fmla="*/ 2019 w 96399"/>
                    <a:gd name="csY9" fmla="*/ 15791 h 62898"/>
                    <a:gd name="csX10" fmla="*/ 3348 w 96399"/>
                    <a:gd name="csY10" fmla="*/ 32846 h 62898"/>
                    <a:gd name="csX11" fmla="*/ 15117 w 96399"/>
                    <a:gd name="csY11" fmla="*/ 26695 h 62898"/>
                    <a:gd name="csX12" fmla="*/ 30742 w 96399"/>
                    <a:gd name="csY12" fmla="*/ 24834 h 62898"/>
                    <a:gd name="csX13" fmla="*/ 39751 w 96399"/>
                    <a:gd name="csY13" fmla="*/ 36536 h 62898"/>
                    <a:gd name="csX14" fmla="*/ 59897 w 96399"/>
                    <a:gd name="csY14" fmla="*/ 58344 h 62898"/>
                    <a:gd name="csX15" fmla="*/ 62789 w 96399"/>
                    <a:gd name="csY15" fmla="*/ 62898 h 628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96399" h="62898">
                      <a:moveTo>
                        <a:pt x="59930" y="8843"/>
                      </a:moveTo>
                      <a:cubicBezTo>
                        <a:pt x="66446" y="21276"/>
                        <a:pt x="73394" y="33510"/>
                        <a:pt x="79245" y="46276"/>
                      </a:cubicBezTo>
                      <a:cubicBezTo>
                        <a:pt x="81705" y="51662"/>
                        <a:pt x="85429" y="51196"/>
                        <a:pt x="89185" y="50565"/>
                      </a:cubicBezTo>
                      <a:cubicBezTo>
                        <a:pt x="91479" y="50166"/>
                        <a:pt x="94538" y="49933"/>
                        <a:pt x="96399" y="46442"/>
                      </a:cubicBezTo>
                      <a:cubicBezTo>
                        <a:pt x="88421" y="31117"/>
                        <a:pt x="80409" y="15093"/>
                        <a:pt x="71067" y="0"/>
                      </a:cubicBezTo>
                      <a:cubicBezTo>
                        <a:pt x="66480" y="765"/>
                        <a:pt x="63953" y="3358"/>
                        <a:pt x="61726" y="6050"/>
                      </a:cubicBezTo>
                      <a:cubicBezTo>
                        <a:pt x="59897" y="8245"/>
                        <a:pt x="57803" y="8610"/>
                        <a:pt x="55343" y="8278"/>
                      </a:cubicBezTo>
                      <a:cubicBezTo>
                        <a:pt x="44804" y="6782"/>
                        <a:pt x="34332" y="4521"/>
                        <a:pt x="23727" y="3989"/>
                      </a:cubicBezTo>
                      <a:cubicBezTo>
                        <a:pt x="17544" y="3690"/>
                        <a:pt x="10563" y="2992"/>
                        <a:pt x="5210" y="8743"/>
                      </a:cubicBezTo>
                      <a:cubicBezTo>
                        <a:pt x="3116" y="11004"/>
                        <a:pt x="2351" y="13331"/>
                        <a:pt x="2019" y="15791"/>
                      </a:cubicBezTo>
                      <a:cubicBezTo>
                        <a:pt x="1254" y="21642"/>
                        <a:pt x="-2802" y="29887"/>
                        <a:pt x="3348" y="32846"/>
                      </a:cubicBezTo>
                      <a:cubicBezTo>
                        <a:pt x="9499" y="35804"/>
                        <a:pt x="12258" y="30119"/>
                        <a:pt x="15117" y="26695"/>
                      </a:cubicBezTo>
                      <a:cubicBezTo>
                        <a:pt x="21134" y="19514"/>
                        <a:pt x="23528" y="19614"/>
                        <a:pt x="30742" y="24834"/>
                      </a:cubicBezTo>
                      <a:cubicBezTo>
                        <a:pt x="35097" y="27992"/>
                        <a:pt x="36260" y="32978"/>
                        <a:pt x="39751" y="36536"/>
                      </a:cubicBezTo>
                      <a:cubicBezTo>
                        <a:pt x="46666" y="43617"/>
                        <a:pt x="53248" y="50997"/>
                        <a:pt x="59897" y="58344"/>
                      </a:cubicBezTo>
                      <a:cubicBezTo>
                        <a:pt x="61094" y="59674"/>
                        <a:pt x="61859" y="61369"/>
                        <a:pt x="62789" y="62898"/>
                      </a:cubicBezTo>
                    </a:path>
                  </a:pathLst>
                </a:custGeom>
                <a:noFill/>
                <a:ln w="9525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935A86A2-53FB-33D1-B717-2A1645DA6679}"/>
                    </a:ext>
                  </a:extLst>
                </p:cNvPr>
                <p:cNvSpPr/>
                <p:nvPr/>
              </p:nvSpPr>
              <p:spPr>
                <a:xfrm>
                  <a:off x="2504698" y="3129705"/>
                  <a:ext cx="53670" cy="32341"/>
                </a:xfrm>
                <a:custGeom>
                  <a:avLst/>
                  <a:gdLst>
                    <a:gd name="csX0" fmla="*/ 31878 w 53670"/>
                    <a:gd name="csY0" fmla="*/ 0 h 32341"/>
                    <a:gd name="csX1" fmla="*/ 50860 w 53670"/>
                    <a:gd name="csY1" fmla="*/ 20080 h 32341"/>
                    <a:gd name="csX2" fmla="*/ 47336 w 53670"/>
                    <a:gd name="csY2" fmla="*/ 32081 h 32341"/>
                    <a:gd name="csX3" fmla="*/ 42682 w 53670"/>
                    <a:gd name="csY3" fmla="*/ 30518 h 32341"/>
                    <a:gd name="csX4" fmla="*/ 26060 w 53670"/>
                    <a:gd name="csY4" fmla="*/ 11536 h 32341"/>
                    <a:gd name="csX5" fmla="*/ 21505 w 53670"/>
                    <a:gd name="csY5" fmla="*/ 8610 h 32341"/>
                    <a:gd name="csX6" fmla="*/ 8141 w 53670"/>
                    <a:gd name="csY6" fmla="*/ 8511 h 32341"/>
                    <a:gd name="csX7" fmla="*/ 429 w 53670"/>
                    <a:gd name="csY7" fmla="*/ 19016 h 32341"/>
                    <a:gd name="csX8" fmla="*/ 12330 w 53670"/>
                    <a:gd name="csY8" fmla="*/ 30452 h 3234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53670" h="32341">
                      <a:moveTo>
                        <a:pt x="31878" y="0"/>
                      </a:moveTo>
                      <a:cubicBezTo>
                        <a:pt x="38194" y="6715"/>
                        <a:pt x="44444" y="13464"/>
                        <a:pt x="50860" y="20080"/>
                      </a:cubicBezTo>
                      <a:cubicBezTo>
                        <a:pt x="55647" y="25000"/>
                        <a:pt x="54218" y="29255"/>
                        <a:pt x="47336" y="32081"/>
                      </a:cubicBezTo>
                      <a:cubicBezTo>
                        <a:pt x="45874" y="32679"/>
                        <a:pt x="44145" y="32280"/>
                        <a:pt x="42682" y="30518"/>
                      </a:cubicBezTo>
                      <a:cubicBezTo>
                        <a:pt x="37330" y="24036"/>
                        <a:pt x="31711" y="17786"/>
                        <a:pt x="26060" y="11536"/>
                      </a:cubicBezTo>
                      <a:cubicBezTo>
                        <a:pt x="24863" y="10206"/>
                        <a:pt x="23899" y="8344"/>
                        <a:pt x="21505" y="8610"/>
                      </a:cubicBezTo>
                      <a:cubicBezTo>
                        <a:pt x="17117" y="9109"/>
                        <a:pt x="13095" y="2094"/>
                        <a:pt x="8141" y="8511"/>
                      </a:cubicBezTo>
                      <a:cubicBezTo>
                        <a:pt x="5482" y="11968"/>
                        <a:pt x="1925" y="14993"/>
                        <a:pt x="429" y="19016"/>
                      </a:cubicBezTo>
                      <a:cubicBezTo>
                        <a:pt x="-1832" y="25066"/>
                        <a:pt x="5249" y="31549"/>
                        <a:pt x="12330" y="30452"/>
                      </a:cubicBezTo>
                    </a:path>
                  </a:pathLst>
                </a:custGeom>
                <a:noFill/>
                <a:ln w="9525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4DEE0D7B-962F-2F45-EFE9-C5C435F629C5}"/>
                    </a:ext>
                  </a:extLst>
                </p:cNvPr>
                <p:cNvSpPr/>
                <p:nvPr/>
              </p:nvSpPr>
              <p:spPr>
                <a:xfrm>
                  <a:off x="2547480" y="3121094"/>
                  <a:ext cx="22391" cy="33310"/>
                </a:xfrm>
                <a:custGeom>
                  <a:avLst/>
                  <a:gdLst>
                    <a:gd name="csX0" fmla="*/ 0 w 22391"/>
                    <a:gd name="csY0" fmla="*/ 0 h 33310"/>
                    <a:gd name="csX1" fmla="*/ 18949 w 22391"/>
                    <a:gd name="csY1" fmla="*/ 20678 h 33310"/>
                    <a:gd name="csX2" fmla="*/ 21808 w 22391"/>
                    <a:gd name="csY2" fmla="*/ 27560 h 33310"/>
                    <a:gd name="csX3" fmla="*/ 14362 w 22391"/>
                    <a:gd name="csY3" fmla="*/ 32779 h 33310"/>
                    <a:gd name="csX4" fmla="*/ 11503 w 22391"/>
                    <a:gd name="csY4" fmla="*/ 33311 h 3331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2391" h="33310">
                      <a:moveTo>
                        <a:pt x="0" y="0"/>
                      </a:moveTo>
                      <a:cubicBezTo>
                        <a:pt x="6316" y="6882"/>
                        <a:pt x="12633" y="13796"/>
                        <a:pt x="18949" y="20678"/>
                      </a:cubicBezTo>
                      <a:cubicBezTo>
                        <a:pt x="20744" y="22639"/>
                        <a:pt x="23637" y="24202"/>
                        <a:pt x="21808" y="27560"/>
                      </a:cubicBezTo>
                      <a:cubicBezTo>
                        <a:pt x="20213" y="30452"/>
                        <a:pt x="18351" y="33111"/>
                        <a:pt x="14362" y="32779"/>
                      </a:cubicBezTo>
                      <a:cubicBezTo>
                        <a:pt x="13431" y="32713"/>
                        <a:pt x="12467" y="33111"/>
                        <a:pt x="11503" y="33311"/>
                      </a:cubicBezTo>
                    </a:path>
                  </a:pathLst>
                </a:custGeom>
                <a:noFill/>
                <a:ln w="9525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FAC60CAE-9D01-2D54-B053-67F2D9D64505}"/>
                    </a:ext>
                  </a:extLst>
                </p:cNvPr>
                <p:cNvSpPr/>
                <p:nvPr/>
              </p:nvSpPr>
              <p:spPr>
                <a:xfrm>
                  <a:off x="2484276" y="3127368"/>
                  <a:ext cx="14666" cy="20131"/>
                </a:xfrm>
                <a:custGeom>
                  <a:avLst/>
                  <a:gdLst>
                    <a:gd name="csX0" fmla="*/ 14667 w 14666"/>
                    <a:gd name="csY0" fmla="*/ 5495 h 20131"/>
                    <a:gd name="csX1" fmla="*/ 4627 w 14666"/>
                    <a:gd name="csY1" fmla="*/ 642 h 20131"/>
                    <a:gd name="csX2" fmla="*/ 6 w 14666"/>
                    <a:gd name="csY2" fmla="*/ 12078 h 20131"/>
                    <a:gd name="csX3" fmla="*/ 7453 w 14666"/>
                    <a:gd name="csY3" fmla="*/ 20123 h 2013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</a:cxnLst>
                  <a:rect l="l" t="t" r="r" b="b"/>
                  <a:pathLst>
                    <a:path w="14666" h="20131">
                      <a:moveTo>
                        <a:pt x="14667" y="5495"/>
                      </a:moveTo>
                      <a:cubicBezTo>
                        <a:pt x="11808" y="2869"/>
                        <a:pt x="9747" y="-1685"/>
                        <a:pt x="4627" y="642"/>
                      </a:cubicBezTo>
                      <a:cubicBezTo>
                        <a:pt x="-360" y="2936"/>
                        <a:pt x="6" y="7656"/>
                        <a:pt x="6" y="12078"/>
                      </a:cubicBezTo>
                      <a:cubicBezTo>
                        <a:pt x="6" y="18029"/>
                        <a:pt x="2134" y="20289"/>
                        <a:pt x="7453" y="20123"/>
                      </a:cubicBezTo>
                    </a:path>
                  </a:pathLst>
                </a:custGeom>
                <a:noFill/>
                <a:ln w="9525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DC05E2C8-13D0-BA1D-A732-1E37DDEF6E06}"/>
                    </a:ext>
                  </a:extLst>
                </p:cNvPr>
                <p:cNvSpPr/>
                <p:nvPr/>
              </p:nvSpPr>
              <p:spPr>
                <a:xfrm>
                  <a:off x="2523344" y="3148654"/>
                  <a:ext cx="24700" cy="19556"/>
                </a:xfrm>
                <a:custGeom>
                  <a:avLst/>
                  <a:gdLst>
                    <a:gd name="csX0" fmla="*/ 0 w 24700"/>
                    <a:gd name="csY0" fmla="*/ 0 h 19556"/>
                    <a:gd name="csX1" fmla="*/ 5652 w 24700"/>
                    <a:gd name="csY1" fmla="*/ 7480 h 19556"/>
                    <a:gd name="csX2" fmla="*/ 14461 w 24700"/>
                    <a:gd name="csY2" fmla="*/ 19215 h 19556"/>
                    <a:gd name="csX3" fmla="*/ 24701 w 24700"/>
                    <a:gd name="csY3" fmla="*/ 13198 h 1955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</a:cxnLst>
                  <a:rect l="l" t="t" r="r" b="b"/>
                  <a:pathLst>
                    <a:path w="24700" h="19556">
                      <a:moveTo>
                        <a:pt x="0" y="0"/>
                      </a:moveTo>
                      <a:cubicBezTo>
                        <a:pt x="3158" y="1529"/>
                        <a:pt x="5352" y="4089"/>
                        <a:pt x="5652" y="7480"/>
                      </a:cubicBezTo>
                      <a:cubicBezTo>
                        <a:pt x="6183" y="13364"/>
                        <a:pt x="9774" y="17487"/>
                        <a:pt x="14461" y="19215"/>
                      </a:cubicBezTo>
                      <a:cubicBezTo>
                        <a:pt x="18717" y="20778"/>
                        <a:pt x="22074" y="16655"/>
                        <a:pt x="24701" y="13198"/>
                      </a:cubicBezTo>
                    </a:path>
                  </a:pathLst>
                </a:custGeom>
                <a:noFill/>
                <a:ln w="9525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57ADFF84-ABCD-D3EF-D691-1FFE0FD0E4F1}"/>
                    </a:ext>
                  </a:extLst>
                </p:cNvPr>
                <p:cNvSpPr/>
                <p:nvPr/>
              </p:nvSpPr>
              <p:spPr>
                <a:xfrm>
                  <a:off x="2570452" y="3126281"/>
                  <a:ext cx="27559" cy="20079"/>
                </a:xfrm>
                <a:custGeom>
                  <a:avLst/>
                  <a:gdLst>
                    <a:gd name="csX0" fmla="*/ 27560 w 27559"/>
                    <a:gd name="csY0" fmla="*/ 0 h 20079"/>
                    <a:gd name="csX1" fmla="*/ 16655 w 27559"/>
                    <a:gd name="csY1" fmla="*/ 8610 h 20079"/>
                    <a:gd name="csX2" fmla="*/ 6682 w 27559"/>
                    <a:gd name="csY2" fmla="*/ 16522 h 20079"/>
                    <a:gd name="csX3" fmla="*/ 0 w 27559"/>
                    <a:gd name="csY3" fmla="*/ 20080 h 2007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</a:cxnLst>
                  <a:rect l="l" t="t" r="r" b="b"/>
                  <a:pathLst>
                    <a:path w="27559" h="20079">
                      <a:moveTo>
                        <a:pt x="27560" y="0"/>
                      </a:moveTo>
                      <a:cubicBezTo>
                        <a:pt x="24468" y="3557"/>
                        <a:pt x="20744" y="6350"/>
                        <a:pt x="16655" y="8610"/>
                      </a:cubicBezTo>
                      <a:cubicBezTo>
                        <a:pt x="12899" y="10705"/>
                        <a:pt x="9109" y="12400"/>
                        <a:pt x="6682" y="16522"/>
                      </a:cubicBezTo>
                      <a:cubicBezTo>
                        <a:pt x="5585" y="18384"/>
                        <a:pt x="2294" y="18949"/>
                        <a:pt x="0" y="20080"/>
                      </a:cubicBezTo>
                    </a:path>
                  </a:pathLst>
                </a:custGeom>
                <a:noFill/>
                <a:ln w="9525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A2011CB9-6D6B-7244-D1FE-75C03FEF7309}"/>
                    </a:ext>
                  </a:extLst>
                </p:cNvPr>
                <p:cNvSpPr/>
                <p:nvPr/>
              </p:nvSpPr>
              <p:spPr>
                <a:xfrm>
                  <a:off x="2517404" y="3139479"/>
                  <a:ext cx="15713" cy="29255"/>
                </a:xfrm>
                <a:custGeom>
                  <a:avLst/>
                  <a:gdLst>
                    <a:gd name="csX0" fmla="*/ 7104 w 15713"/>
                    <a:gd name="csY0" fmla="*/ 0 h 29255"/>
                    <a:gd name="csX1" fmla="*/ 2549 w 15713"/>
                    <a:gd name="csY1" fmla="*/ 11536 h 29255"/>
                    <a:gd name="csX2" fmla="*/ 3081 w 15713"/>
                    <a:gd name="csY2" fmla="*/ 24102 h 29255"/>
                    <a:gd name="csX3" fmla="*/ 15714 w 15713"/>
                    <a:gd name="csY3" fmla="*/ 26961 h 2925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</a:cxnLst>
                  <a:rect l="l" t="t" r="r" b="b"/>
                  <a:pathLst>
                    <a:path w="15713" h="29255">
                      <a:moveTo>
                        <a:pt x="7104" y="0"/>
                      </a:moveTo>
                      <a:cubicBezTo>
                        <a:pt x="7203" y="4488"/>
                        <a:pt x="5907" y="8278"/>
                        <a:pt x="2549" y="11536"/>
                      </a:cubicBezTo>
                      <a:cubicBezTo>
                        <a:pt x="-1108" y="15093"/>
                        <a:pt x="-742" y="19548"/>
                        <a:pt x="3081" y="24102"/>
                      </a:cubicBezTo>
                      <a:cubicBezTo>
                        <a:pt x="8134" y="30119"/>
                        <a:pt x="10062" y="30585"/>
                        <a:pt x="15714" y="26961"/>
                      </a:cubicBezTo>
                    </a:path>
                  </a:pathLst>
                </a:custGeom>
                <a:noFill/>
                <a:ln w="9525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900EF872-8511-DDD0-7AC1-C5411C87461E}"/>
                    </a:ext>
                  </a:extLst>
                </p:cNvPr>
                <p:cNvSpPr/>
                <p:nvPr/>
              </p:nvSpPr>
              <p:spPr>
                <a:xfrm>
                  <a:off x="2492221" y="3130683"/>
                  <a:ext cx="19055" cy="25890"/>
                </a:xfrm>
                <a:custGeom>
                  <a:avLst/>
                  <a:gdLst>
                    <a:gd name="csX0" fmla="*/ 19056 w 19055"/>
                    <a:gd name="csY0" fmla="*/ 7931 h 25890"/>
                    <a:gd name="csX1" fmla="*/ 4162 w 19055"/>
                    <a:gd name="csY1" fmla="*/ 6535 h 25890"/>
                    <a:gd name="csX2" fmla="*/ 4594 w 19055"/>
                    <a:gd name="csY2" fmla="*/ 23257 h 25890"/>
                    <a:gd name="csX3" fmla="*/ 12739 w 19055"/>
                    <a:gd name="csY3" fmla="*/ 24587 h 258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</a:cxnLst>
                  <a:rect l="l" t="t" r="r" b="b"/>
                  <a:pathLst>
                    <a:path w="19055" h="25890">
                      <a:moveTo>
                        <a:pt x="19056" y="7931"/>
                      </a:moveTo>
                      <a:cubicBezTo>
                        <a:pt x="13570" y="-2208"/>
                        <a:pt x="10645" y="-2574"/>
                        <a:pt x="4162" y="6535"/>
                      </a:cubicBezTo>
                      <a:cubicBezTo>
                        <a:pt x="-1523" y="14447"/>
                        <a:pt x="-1390" y="15943"/>
                        <a:pt x="4594" y="23257"/>
                      </a:cubicBezTo>
                      <a:cubicBezTo>
                        <a:pt x="7320" y="26615"/>
                        <a:pt x="9648" y="26415"/>
                        <a:pt x="12739" y="24587"/>
                      </a:cubicBezTo>
                    </a:path>
                  </a:pathLst>
                </a:custGeom>
                <a:noFill/>
                <a:ln w="9525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66" name="Freeform: Shape 65">
                  <a:extLst>
                    <a:ext uri="{FF2B5EF4-FFF2-40B4-BE49-F238E27FC236}">
                      <a16:creationId xmlns:a16="http://schemas.microsoft.com/office/drawing/2014/main" id="{6231493F-E3A2-987A-8335-7729ED469A87}"/>
                    </a:ext>
                  </a:extLst>
                </p:cNvPr>
                <p:cNvSpPr/>
                <p:nvPr/>
              </p:nvSpPr>
              <p:spPr>
                <a:xfrm>
                  <a:off x="2553796" y="3104398"/>
                  <a:ext cx="20677" cy="5357"/>
                </a:xfrm>
                <a:custGeom>
                  <a:avLst/>
                  <a:gdLst>
                    <a:gd name="csX0" fmla="*/ 0 w 20677"/>
                    <a:gd name="csY0" fmla="*/ 41 h 5357"/>
                    <a:gd name="csX1" fmla="*/ 6416 w 20677"/>
                    <a:gd name="csY1" fmla="*/ 2202 h 5357"/>
                    <a:gd name="csX2" fmla="*/ 20678 w 20677"/>
                    <a:gd name="csY2" fmla="*/ 1770 h 535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20677" h="5357">
                      <a:moveTo>
                        <a:pt x="0" y="41"/>
                      </a:moveTo>
                      <a:cubicBezTo>
                        <a:pt x="2460" y="-192"/>
                        <a:pt x="4289" y="573"/>
                        <a:pt x="6416" y="2202"/>
                      </a:cubicBezTo>
                      <a:cubicBezTo>
                        <a:pt x="12234" y="6623"/>
                        <a:pt x="13963" y="6324"/>
                        <a:pt x="20678" y="1770"/>
                      </a:cubicBezTo>
                    </a:path>
                  </a:pathLst>
                </a:custGeom>
                <a:noFill/>
                <a:ln w="9525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67" name="Freeform: Shape 66">
                  <a:extLst>
                    <a:ext uri="{FF2B5EF4-FFF2-40B4-BE49-F238E27FC236}">
                      <a16:creationId xmlns:a16="http://schemas.microsoft.com/office/drawing/2014/main" id="{408EE62C-9B0A-51A3-1FC7-49EC0F1AD5F7}"/>
                    </a:ext>
                  </a:extLst>
                </p:cNvPr>
                <p:cNvSpPr/>
                <p:nvPr/>
              </p:nvSpPr>
              <p:spPr>
                <a:xfrm>
                  <a:off x="2472813" y="3122258"/>
                  <a:ext cx="12067" cy="8045"/>
                </a:xfrm>
                <a:custGeom>
                  <a:avLst/>
                  <a:gdLst>
                    <a:gd name="csX0" fmla="*/ 0 w 12067"/>
                    <a:gd name="csY0" fmla="*/ 0 h 8045"/>
                    <a:gd name="csX1" fmla="*/ 12068 w 12067"/>
                    <a:gd name="csY1" fmla="*/ 8045 h 80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12067" h="8045">
                      <a:moveTo>
                        <a:pt x="0" y="0"/>
                      </a:moveTo>
                      <a:cubicBezTo>
                        <a:pt x="4255" y="2360"/>
                        <a:pt x="7513" y="6183"/>
                        <a:pt x="12068" y="8045"/>
                      </a:cubicBezTo>
                    </a:path>
                  </a:pathLst>
                </a:custGeom>
                <a:noFill/>
                <a:ln w="9525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</p:grp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8F0D4C01-2D45-CBB7-94FA-3E9479427AAA}"/>
                  </a:ext>
                </a:extLst>
              </p:cNvPr>
              <p:cNvSpPr/>
              <p:nvPr/>
            </p:nvSpPr>
            <p:spPr>
              <a:xfrm>
                <a:off x="2533118" y="3029539"/>
                <a:ext cx="3324" cy="26795"/>
              </a:xfrm>
              <a:custGeom>
                <a:avLst/>
                <a:gdLst>
                  <a:gd name="csX0" fmla="*/ 0 w 3324"/>
                  <a:gd name="csY0" fmla="*/ 26795 h 26795"/>
                  <a:gd name="csX1" fmla="*/ 0 w 3324"/>
                  <a:gd name="csY1" fmla="*/ 0 h 2679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3324" h="26795">
                    <a:moveTo>
                      <a:pt x="0" y="26795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93BB18D2-BFA9-74A9-24AC-F4F48BEC058A}"/>
                  </a:ext>
                </a:extLst>
              </p:cNvPr>
              <p:cNvSpPr/>
              <p:nvPr/>
            </p:nvSpPr>
            <p:spPr>
              <a:xfrm>
                <a:off x="2547845" y="3039878"/>
                <a:ext cx="8078" cy="25531"/>
              </a:xfrm>
              <a:custGeom>
                <a:avLst/>
                <a:gdLst>
                  <a:gd name="csX0" fmla="*/ 0 w 8078"/>
                  <a:gd name="csY0" fmla="*/ 25532 h 25531"/>
                  <a:gd name="csX1" fmla="*/ 8078 w 8078"/>
                  <a:gd name="csY1" fmla="*/ 0 h 2553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8078" h="25531">
                    <a:moveTo>
                      <a:pt x="0" y="25532"/>
                    </a:moveTo>
                    <a:lnTo>
                      <a:pt x="8078" y="0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004BD12C-708E-88F5-4AD5-9E6AD0FCBEE8}"/>
                  </a:ext>
                </a:extLst>
              </p:cNvPr>
              <p:cNvSpPr/>
              <p:nvPr/>
            </p:nvSpPr>
            <p:spPr>
              <a:xfrm>
                <a:off x="2508384" y="3039878"/>
                <a:ext cx="8111" cy="25531"/>
              </a:xfrm>
              <a:custGeom>
                <a:avLst/>
                <a:gdLst>
                  <a:gd name="csX0" fmla="*/ 8112 w 8111"/>
                  <a:gd name="csY0" fmla="*/ 25532 h 25531"/>
                  <a:gd name="csX1" fmla="*/ 0 w 8111"/>
                  <a:gd name="csY1" fmla="*/ 0 h 2553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8111" h="25531">
                    <a:moveTo>
                      <a:pt x="8112" y="25532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</p:grpSp>
        <p:grpSp>
          <p:nvGrpSpPr>
            <p:cNvPr id="39" name="Graphic 11">
              <a:extLst>
                <a:ext uri="{FF2B5EF4-FFF2-40B4-BE49-F238E27FC236}">
                  <a16:creationId xmlns:a16="http://schemas.microsoft.com/office/drawing/2014/main" id="{42CA3E47-5446-3CDD-BE27-DFE27EA67E1E}"/>
                </a:ext>
              </a:extLst>
            </p:cNvPr>
            <p:cNvGrpSpPr/>
            <p:nvPr/>
          </p:nvGrpSpPr>
          <p:grpSpPr>
            <a:xfrm>
              <a:off x="2400673" y="3023888"/>
              <a:ext cx="84207" cy="93217"/>
              <a:chOff x="2400673" y="3023888"/>
              <a:chExt cx="84207" cy="93217"/>
            </a:xfrm>
            <a:noFill/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A3CF08DB-2D64-E4CB-1329-689C7F5264A9}"/>
                  </a:ext>
                </a:extLst>
              </p:cNvPr>
              <p:cNvSpPr/>
              <p:nvPr/>
            </p:nvSpPr>
            <p:spPr>
              <a:xfrm>
                <a:off x="2438704" y="3023888"/>
                <a:ext cx="21276" cy="21276"/>
              </a:xfrm>
              <a:prstGeom prst="ellipse">
                <a:avLst/>
              </a:prstGeom>
              <a:noFill/>
              <a:ln w="9525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DF347BD5-F8B9-E34B-E82E-3B03FA5E0B87}"/>
                  </a:ext>
                </a:extLst>
              </p:cNvPr>
              <p:cNvSpPr/>
              <p:nvPr/>
            </p:nvSpPr>
            <p:spPr>
              <a:xfrm>
                <a:off x="2429396" y="3063848"/>
                <a:ext cx="21276" cy="21276"/>
              </a:xfrm>
              <a:prstGeom prst="ellipse">
                <a:avLst/>
              </a:prstGeom>
              <a:noFill/>
              <a:ln w="9525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BB4B8CC0-2BE7-89D5-B15C-B89508AF5D6B}"/>
                  </a:ext>
                </a:extLst>
              </p:cNvPr>
              <p:cNvSpPr/>
              <p:nvPr/>
            </p:nvSpPr>
            <p:spPr>
              <a:xfrm>
                <a:off x="2400673" y="3094998"/>
                <a:ext cx="21276" cy="21276"/>
              </a:xfrm>
              <a:prstGeom prst="ellipse">
                <a:avLst/>
              </a:prstGeom>
              <a:noFill/>
              <a:ln w="9525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63E3E396-D42C-972E-58DC-547A2F5A3417}"/>
                  </a:ext>
                </a:extLst>
              </p:cNvPr>
              <p:cNvSpPr/>
              <p:nvPr/>
            </p:nvSpPr>
            <p:spPr>
              <a:xfrm>
                <a:off x="2458717" y="3039513"/>
                <a:ext cx="26163" cy="30950"/>
              </a:xfrm>
              <a:custGeom>
                <a:avLst/>
                <a:gdLst>
                  <a:gd name="csX0" fmla="*/ 0 w 26163"/>
                  <a:gd name="csY0" fmla="*/ 0 h 30950"/>
                  <a:gd name="csX1" fmla="*/ 12101 w 26163"/>
                  <a:gd name="csY1" fmla="*/ 6483 h 30950"/>
                  <a:gd name="csX2" fmla="*/ 15691 w 26163"/>
                  <a:gd name="csY2" fmla="*/ 25332 h 30950"/>
                  <a:gd name="csX3" fmla="*/ 26163 w 26163"/>
                  <a:gd name="csY3" fmla="*/ 30951 h 3095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26163" h="30950">
                    <a:moveTo>
                      <a:pt x="0" y="0"/>
                    </a:moveTo>
                    <a:lnTo>
                      <a:pt x="12101" y="6483"/>
                    </a:lnTo>
                    <a:lnTo>
                      <a:pt x="15691" y="25332"/>
                    </a:lnTo>
                    <a:lnTo>
                      <a:pt x="26163" y="30951"/>
                    </a:lnTo>
                  </a:path>
                </a:pathLst>
              </a:custGeom>
              <a:noFill/>
              <a:ln w="9525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B4F15D1A-62C0-D8DA-75FD-74225305EE2A}"/>
                  </a:ext>
                </a:extLst>
              </p:cNvPr>
              <p:cNvSpPr/>
              <p:nvPr/>
            </p:nvSpPr>
            <p:spPr>
              <a:xfrm>
                <a:off x="2420653" y="3107863"/>
                <a:ext cx="40923" cy="9241"/>
              </a:xfrm>
              <a:custGeom>
                <a:avLst/>
                <a:gdLst>
                  <a:gd name="csX0" fmla="*/ 0 w 40923"/>
                  <a:gd name="csY0" fmla="*/ 2793 h 9241"/>
                  <a:gd name="csX1" fmla="*/ 12101 w 40923"/>
                  <a:gd name="csY1" fmla="*/ 9242 h 9241"/>
                  <a:gd name="csX2" fmla="*/ 29388 w 40923"/>
                  <a:gd name="csY2" fmla="*/ 0 h 9241"/>
                  <a:gd name="csX3" fmla="*/ 40924 w 40923"/>
                  <a:gd name="csY3" fmla="*/ 6150 h 924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40923" h="9241">
                    <a:moveTo>
                      <a:pt x="0" y="2793"/>
                    </a:moveTo>
                    <a:lnTo>
                      <a:pt x="12101" y="9242"/>
                    </a:lnTo>
                    <a:lnTo>
                      <a:pt x="29388" y="0"/>
                    </a:lnTo>
                    <a:lnTo>
                      <a:pt x="40924" y="6150"/>
                    </a:lnTo>
                  </a:path>
                </a:pathLst>
              </a:custGeom>
              <a:noFill/>
              <a:ln w="9525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62153382-FF55-D1CD-7BA0-6CA6EB558B1D}"/>
                  </a:ext>
                </a:extLst>
              </p:cNvPr>
              <p:cNvSpPr/>
              <p:nvPr/>
            </p:nvSpPr>
            <p:spPr>
              <a:xfrm>
                <a:off x="2448644" y="3079705"/>
                <a:ext cx="24334" cy="12998"/>
              </a:xfrm>
              <a:custGeom>
                <a:avLst/>
                <a:gdLst>
                  <a:gd name="csX0" fmla="*/ 24335 w 24334"/>
                  <a:gd name="csY0" fmla="*/ 12999 h 12998"/>
                  <a:gd name="csX1" fmla="*/ 0 w 24334"/>
                  <a:gd name="csY1" fmla="*/ 0 h 129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24334" h="12998">
                    <a:moveTo>
                      <a:pt x="24335" y="12999"/>
                    </a:moveTo>
                    <a:lnTo>
                      <a:pt x="0" y="0"/>
                    </a:lnTo>
                  </a:path>
                </a:pathLst>
              </a:custGeom>
              <a:ln w="9525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</p:grpSp>
        <p:grpSp>
          <p:nvGrpSpPr>
            <p:cNvPr id="40" name="Graphic 11">
              <a:extLst>
                <a:ext uri="{FF2B5EF4-FFF2-40B4-BE49-F238E27FC236}">
                  <a16:creationId xmlns:a16="http://schemas.microsoft.com/office/drawing/2014/main" id="{5A28F12B-2086-3806-2B4A-07D34902055C}"/>
                </a:ext>
              </a:extLst>
            </p:cNvPr>
            <p:cNvGrpSpPr/>
            <p:nvPr/>
          </p:nvGrpSpPr>
          <p:grpSpPr>
            <a:xfrm>
              <a:off x="2589401" y="3031800"/>
              <a:ext cx="84241" cy="93250"/>
              <a:chOff x="2589401" y="3031800"/>
              <a:chExt cx="84241" cy="93250"/>
            </a:xfrm>
            <a:noFill/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1F162AB2-0556-BBC6-224D-F038497D9360}"/>
                  </a:ext>
                </a:extLst>
              </p:cNvPr>
              <p:cNvSpPr/>
              <p:nvPr/>
            </p:nvSpPr>
            <p:spPr>
              <a:xfrm>
                <a:off x="2614301" y="3031800"/>
                <a:ext cx="21276" cy="21276"/>
              </a:xfrm>
              <a:prstGeom prst="ellipse">
                <a:avLst/>
              </a:prstGeom>
              <a:noFill/>
              <a:ln w="9525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6F1C747D-596D-E152-59BD-43E7C1D4BAE5}"/>
                  </a:ext>
                </a:extLst>
              </p:cNvPr>
              <p:cNvSpPr/>
              <p:nvPr/>
            </p:nvSpPr>
            <p:spPr>
              <a:xfrm>
                <a:off x="2623642" y="3071760"/>
                <a:ext cx="21276" cy="21276"/>
              </a:xfrm>
              <a:prstGeom prst="ellipse">
                <a:avLst/>
              </a:prstGeom>
              <a:noFill/>
              <a:ln w="9525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CA6243C0-AC2B-01DA-50E8-6E8F893D5F6F}"/>
                  </a:ext>
                </a:extLst>
              </p:cNvPr>
              <p:cNvSpPr/>
              <p:nvPr/>
            </p:nvSpPr>
            <p:spPr>
              <a:xfrm>
                <a:off x="2652366" y="3102943"/>
                <a:ext cx="21276" cy="21276"/>
              </a:xfrm>
              <a:prstGeom prst="ellipse">
                <a:avLst/>
              </a:prstGeom>
              <a:noFill/>
              <a:ln w="9525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AE61BA80-4621-BF6B-083F-5FE7488A9AFC}"/>
                  </a:ext>
                </a:extLst>
              </p:cNvPr>
              <p:cNvSpPr/>
              <p:nvPr/>
            </p:nvSpPr>
            <p:spPr>
              <a:xfrm>
                <a:off x="2589401" y="3047458"/>
                <a:ext cx="26163" cy="30950"/>
              </a:xfrm>
              <a:custGeom>
                <a:avLst/>
                <a:gdLst>
                  <a:gd name="csX0" fmla="*/ 26163 w 26163"/>
                  <a:gd name="csY0" fmla="*/ 0 h 30950"/>
                  <a:gd name="csX1" fmla="*/ 14096 w 26163"/>
                  <a:gd name="csY1" fmla="*/ 6483 h 30950"/>
                  <a:gd name="csX2" fmla="*/ 10472 w 26163"/>
                  <a:gd name="csY2" fmla="*/ 25332 h 30950"/>
                  <a:gd name="csX3" fmla="*/ 0 w 26163"/>
                  <a:gd name="csY3" fmla="*/ 30951 h 3095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26163" h="30950">
                    <a:moveTo>
                      <a:pt x="26163" y="0"/>
                    </a:moveTo>
                    <a:lnTo>
                      <a:pt x="14096" y="6483"/>
                    </a:lnTo>
                    <a:lnTo>
                      <a:pt x="10472" y="25332"/>
                    </a:lnTo>
                    <a:lnTo>
                      <a:pt x="0" y="30951"/>
                    </a:lnTo>
                  </a:path>
                </a:pathLst>
              </a:custGeom>
              <a:noFill/>
              <a:ln w="9525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BDA99090-B584-3CFC-E92C-2FDF62952C27}"/>
                  </a:ext>
                </a:extLst>
              </p:cNvPr>
              <p:cNvSpPr/>
              <p:nvPr/>
            </p:nvSpPr>
            <p:spPr>
              <a:xfrm>
                <a:off x="2612705" y="3115809"/>
                <a:ext cx="40923" cy="9241"/>
              </a:xfrm>
              <a:custGeom>
                <a:avLst/>
                <a:gdLst>
                  <a:gd name="csX0" fmla="*/ 40924 w 40923"/>
                  <a:gd name="csY0" fmla="*/ 2793 h 9241"/>
                  <a:gd name="csX1" fmla="*/ 28856 w 40923"/>
                  <a:gd name="csY1" fmla="*/ 9242 h 9241"/>
                  <a:gd name="csX2" fmla="*/ 11536 w 40923"/>
                  <a:gd name="csY2" fmla="*/ 0 h 9241"/>
                  <a:gd name="csX3" fmla="*/ 0 w 40923"/>
                  <a:gd name="csY3" fmla="*/ 6150 h 924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40923" h="9241">
                    <a:moveTo>
                      <a:pt x="40924" y="2793"/>
                    </a:moveTo>
                    <a:lnTo>
                      <a:pt x="28856" y="9242"/>
                    </a:lnTo>
                    <a:lnTo>
                      <a:pt x="11536" y="0"/>
                    </a:lnTo>
                    <a:lnTo>
                      <a:pt x="0" y="6150"/>
                    </a:lnTo>
                  </a:path>
                </a:pathLst>
              </a:custGeom>
              <a:noFill/>
              <a:ln w="9525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76BB5E6B-4237-7B2B-35F9-D65428403494}"/>
                  </a:ext>
                </a:extLst>
              </p:cNvPr>
              <p:cNvSpPr/>
              <p:nvPr/>
            </p:nvSpPr>
            <p:spPr>
              <a:xfrm>
                <a:off x="2601302" y="3087617"/>
                <a:ext cx="24334" cy="13031"/>
              </a:xfrm>
              <a:custGeom>
                <a:avLst/>
                <a:gdLst>
                  <a:gd name="csX0" fmla="*/ 0 w 24334"/>
                  <a:gd name="csY0" fmla="*/ 13032 h 13031"/>
                  <a:gd name="csX1" fmla="*/ 24335 w 24334"/>
                  <a:gd name="csY1" fmla="*/ 0 h 1303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24334" h="13031">
                    <a:moveTo>
                      <a:pt x="0" y="13032"/>
                    </a:moveTo>
                    <a:lnTo>
                      <a:pt x="24335" y="0"/>
                    </a:lnTo>
                  </a:path>
                </a:pathLst>
              </a:custGeom>
              <a:ln w="9525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</p:grp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6CDE692-47FE-EC78-FA65-E3CB16401626}"/>
              </a:ext>
            </a:extLst>
          </p:cNvPr>
          <p:cNvGrpSpPr/>
          <p:nvPr/>
        </p:nvGrpSpPr>
        <p:grpSpPr>
          <a:xfrm>
            <a:off x="2461769" y="4293153"/>
            <a:ext cx="214831" cy="215967"/>
            <a:chOff x="2429685" y="4164817"/>
            <a:chExt cx="214831" cy="215967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EBB1AD98-907A-D3AE-4F15-A3041D513CF6}"/>
                </a:ext>
              </a:extLst>
            </p:cNvPr>
            <p:cNvSpPr/>
            <p:nvPr/>
          </p:nvSpPr>
          <p:spPr>
            <a:xfrm>
              <a:off x="2429685" y="4179333"/>
              <a:ext cx="174481" cy="22846"/>
            </a:xfrm>
            <a:prstGeom prst="rect">
              <a:avLst/>
            </a:prstGeom>
            <a:noFill/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1C475938-CE0D-9822-0261-1663F45BF6A9}"/>
                </a:ext>
              </a:extLst>
            </p:cNvPr>
            <p:cNvSpPr/>
            <p:nvPr/>
          </p:nvSpPr>
          <p:spPr>
            <a:xfrm>
              <a:off x="2506092" y="4164817"/>
              <a:ext cx="21584" cy="14515"/>
            </a:xfrm>
            <a:custGeom>
              <a:avLst/>
              <a:gdLst>
                <a:gd name="csX0" fmla="*/ 10813 w 21584"/>
                <a:gd name="csY0" fmla="*/ 0 h 14515"/>
                <a:gd name="csX1" fmla="*/ 10813 w 21584"/>
                <a:gd name="csY1" fmla="*/ 0 h 14515"/>
                <a:gd name="csX2" fmla="*/ 21584 w 21584"/>
                <a:gd name="csY2" fmla="*/ 10771 h 14515"/>
                <a:gd name="csX3" fmla="*/ 21584 w 21584"/>
                <a:gd name="csY3" fmla="*/ 14516 h 14515"/>
                <a:gd name="csX4" fmla="*/ 0 w 21584"/>
                <a:gd name="csY4" fmla="*/ 14516 h 14515"/>
                <a:gd name="csX5" fmla="*/ 0 w 21584"/>
                <a:gd name="csY5" fmla="*/ 10771 h 14515"/>
                <a:gd name="csX6" fmla="*/ 10771 w 21584"/>
                <a:gd name="csY6" fmla="*/ 0 h 1451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21584" h="14515">
                  <a:moveTo>
                    <a:pt x="10813" y="0"/>
                  </a:moveTo>
                  <a:lnTo>
                    <a:pt x="10813" y="0"/>
                  </a:lnTo>
                  <a:cubicBezTo>
                    <a:pt x="16746" y="0"/>
                    <a:pt x="21584" y="4839"/>
                    <a:pt x="21584" y="10771"/>
                  </a:cubicBezTo>
                  <a:lnTo>
                    <a:pt x="21584" y="14516"/>
                  </a:lnTo>
                  <a:lnTo>
                    <a:pt x="0" y="14516"/>
                  </a:lnTo>
                  <a:lnTo>
                    <a:pt x="0" y="10771"/>
                  </a:lnTo>
                  <a:cubicBezTo>
                    <a:pt x="0" y="4839"/>
                    <a:pt x="4839" y="0"/>
                    <a:pt x="10771" y="0"/>
                  </a:cubicBezTo>
                  <a:close/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780E145F-4370-D51B-59FC-BA3E71330C9A}"/>
                </a:ext>
              </a:extLst>
            </p:cNvPr>
            <p:cNvSpPr/>
            <p:nvPr/>
          </p:nvSpPr>
          <p:spPr>
            <a:xfrm>
              <a:off x="2429685" y="4310184"/>
              <a:ext cx="127442" cy="24529"/>
            </a:xfrm>
            <a:custGeom>
              <a:avLst/>
              <a:gdLst>
                <a:gd name="csX0" fmla="*/ 114694 w 127442"/>
                <a:gd name="csY0" fmla="*/ 0 h 24529"/>
                <a:gd name="csX1" fmla="*/ 10771 w 127442"/>
                <a:gd name="csY1" fmla="*/ 0 h 24529"/>
                <a:gd name="csX2" fmla="*/ 0 w 127442"/>
                <a:gd name="csY2" fmla="*/ 0 h 24529"/>
                <a:gd name="csX3" fmla="*/ 0 w 127442"/>
                <a:gd name="csY3" fmla="*/ 24529 h 24529"/>
                <a:gd name="csX4" fmla="*/ 127443 w 127442"/>
                <a:gd name="csY4" fmla="*/ 24529 h 245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127442" h="24529">
                  <a:moveTo>
                    <a:pt x="114694" y="0"/>
                  </a:moveTo>
                  <a:lnTo>
                    <a:pt x="10771" y="0"/>
                  </a:lnTo>
                  <a:lnTo>
                    <a:pt x="0" y="0"/>
                  </a:lnTo>
                  <a:lnTo>
                    <a:pt x="0" y="24529"/>
                  </a:lnTo>
                  <a:lnTo>
                    <a:pt x="127443" y="24529"/>
                  </a:ln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E572A64B-0D27-63F8-F8D4-8AE381D4994A}"/>
                </a:ext>
              </a:extLst>
            </p:cNvPr>
            <p:cNvSpPr/>
            <p:nvPr/>
          </p:nvSpPr>
          <p:spPr>
            <a:xfrm>
              <a:off x="2440456" y="4202179"/>
              <a:ext cx="103923" cy="108004"/>
            </a:xfrm>
            <a:custGeom>
              <a:avLst/>
              <a:gdLst>
                <a:gd name="csX0" fmla="*/ 0 w 103923"/>
                <a:gd name="csY0" fmla="*/ 0 h 108004"/>
                <a:gd name="csX1" fmla="*/ 0 w 103923"/>
                <a:gd name="csY1" fmla="*/ 108005 h 108004"/>
                <a:gd name="csX2" fmla="*/ 103923 w 103923"/>
                <a:gd name="csY2" fmla="*/ 108005 h 10800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103923" h="108004">
                  <a:moveTo>
                    <a:pt x="0" y="0"/>
                  </a:moveTo>
                  <a:lnTo>
                    <a:pt x="0" y="108005"/>
                  </a:lnTo>
                  <a:lnTo>
                    <a:pt x="103923" y="108005"/>
                  </a:ln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9C71ABA9-C807-8724-41CF-F7F51036C9AB}"/>
                </a:ext>
              </a:extLst>
            </p:cNvPr>
            <p:cNvSpPr/>
            <p:nvPr/>
          </p:nvSpPr>
          <p:spPr>
            <a:xfrm>
              <a:off x="2593859" y="4202179"/>
              <a:ext cx="4207" cy="53770"/>
            </a:xfrm>
            <a:custGeom>
              <a:avLst/>
              <a:gdLst>
                <a:gd name="csX0" fmla="*/ 0 w 4207"/>
                <a:gd name="csY0" fmla="*/ 0 h 53770"/>
                <a:gd name="csX1" fmla="*/ 0 w 4207"/>
                <a:gd name="csY1" fmla="*/ 53771 h 5377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4207" h="53770">
                  <a:moveTo>
                    <a:pt x="0" y="0"/>
                  </a:moveTo>
                  <a:lnTo>
                    <a:pt x="0" y="53771"/>
                  </a:ln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ADDF343-FBF8-5725-29F3-71C19A665672}"/>
                </a:ext>
              </a:extLst>
            </p:cNvPr>
            <p:cNvSpPr/>
            <p:nvPr/>
          </p:nvSpPr>
          <p:spPr>
            <a:xfrm>
              <a:off x="2517536" y="4334713"/>
              <a:ext cx="4207" cy="46071"/>
            </a:xfrm>
            <a:custGeom>
              <a:avLst/>
              <a:gdLst>
                <a:gd name="csX0" fmla="*/ 0 w 4207"/>
                <a:gd name="csY0" fmla="*/ 0 h 46071"/>
                <a:gd name="csX1" fmla="*/ 0 w 4207"/>
                <a:gd name="csY1" fmla="*/ 46071 h 4607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4207" h="46071">
                  <a:moveTo>
                    <a:pt x="0" y="0"/>
                  </a:moveTo>
                  <a:lnTo>
                    <a:pt x="0" y="46071"/>
                  </a:lnTo>
                </a:path>
              </a:pathLst>
            </a:custGeom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DBA00A6-5E45-6642-BF08-49380CB981EB}"/>
                </a:ext>
              </a:extLst>
            </p:cNvPr>
            <p:cNvSpPr/>
            <p:nvPr/>
          </p:nvSpPr>
          <p:spPr>
            <a:xfrm>
              <a:off x="2458001" y="4335176"/>
              <a:ext cx="34416" cy="45608"/>
            </a:xfrm>
            <a:custGeom>
              <a:avLst/>
              <a:gdLst>
                <a:gd name="csX0" fmla="*/ 0 w 34416"/>
                <a:gd name="csY0" fmla="*/ 45608 h 45608"/>
                <a:gd name="csX1" fmla="*/ 34417 w 34416"/>
                <a:gd name="csY1" fmla="*/ 0 h 456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34416" h="45608">
                  <a:moveTo>
                    <a:pt x="0" y="45608"/>
                  </a:moveTo>
                  <a:lnTo>
                    <a:pt x="34417" y="0"/>
                  </a:lnTo>
                </a:path>
              </a:pathLst>
            </a:custGeom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261A83E6-A7F5-4C82-F839-BAB966809B2C}"/>
                </a:ext>
              </a:extLst>
            </p:cNvPr>
            <p:cNvSpPr/>
            <p:nvPr/>
          </p:nvSpPr>
          <p:spPr>
            <a:xfrm>
              <a:off x="2464607" y="4261672"/>
              <a:ext cx="28484" cy="28484"/>
            </a:xfrm>
            <a:custGeom>
              <a:avLst/>
              <a:gdLst>
                <a:gd name="csX0" fmla="*/ 0 w 28484"/>
                <a:gd name="csY0" fmla="*/ 0 h 28484"/>
                <a:gd name="csX1" fmla="*/ 28484 w 28484"/>
                <a:gd name="csY1" fmla="*/ 28484 h 2848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8484" h="28484">
                  <a:moveTo>
                    <a:pt x="0" y="0"/>
                  </a:moveTo>
                  <a:lnTo>
                    <a:pt x="28484" y="28484"/>
                  </a:lnTo>
                </a:path>
              </a:pathLst>
            </a:custGeom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7F2A45E-124E-42DB-34E5-F5F9A8543998}"/>
                </a:ext>
              </a:extLst>
            </p:cNvPr>
            <p:cNvSpPr/>
            <p:nvPr/>
          </p:nvSpPr>
          <p:spPr>
            <a:xfrm>
              <a:off x="2464607" y="4261672"/>
              <a:ext cx="28484" cy="28484"/>
            </a:xfrm>
            <a:custGeom>
              <a:avLst/>
              <a:gdLst>
                <a:gd name="csX0" fmla="*/ 28484 w 28484"/>
                <a:gd name="csY0" fmla="*/ 0 h 28484"/>
                <a:gd name="csX1" fmla="*/ 0 w 28484"/>
                <a:gd name="csY1" fmla="*/ 28484 h 2848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8484" h="28484">
                  <a:moveTo>
                    <a:pt x="28484" y="0"/>
                  </a:moveTo>
                  <a:lnTo>
                    <a:pt x="0" y="28484"/>
                  </a:lnTo>
                </a:path>
              </a:pathLst>
            </a:custGeom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4DCCE46F-6C1B-403E-6BA5-7429BA9A36D8}"/>
                </a:ext>
              </a:extLst>
            </p:cNvPr>
            <p:cNvSpPr/>
            <p:nvPr/>
          </p:nvSpPr>
          <p:spPr>
            <a:xfrm>
              <a:off x="2459474" y="4219009"/>
              <a:ext cx="63952" cy="4207"/>
            </a:xfrm>
            <a:custGeom>
              <a:avLst/>
              <a:gdLst>
                <a:gd name="csX0" fmla="*/ 0 w 63952"/>
                <a:gd name="csY0" fmla="*/ 0 h 4207"/>
                <a:gd name="csX1" fmla="*/ 63953 w 63952"/>
                <a:gd name="csY1" fmla="*/ 0 h 420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63952" h="4207">
                  <a:moveTo>
                    <a:pt x="0" y="0"/>
                  </a:moveTo>
                  <a:lnTo>
                    <a:pt x="63953" y="0"/>
                  </a:lnTo>
                </a:path>
              </a:pathLst>
            </a:custGeom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2BDA86B-9FF5-6697-A93F-1B941BE4D203}"/>
                </a:ext>
              </a:extLst>
            </p:cNvPr>
            <p:cNvSpPr/>
            <p:nvPr/>
          </p:nvSpPr>
          <p:spPr>
            <a:xfrm>
              <a:off x="2459474" y="4237900"/>
              <a:ext cx="48511" cy="4207"/>
            </a:xfrm>
            <a:custGeom>
              <a:avLst/>
              <a:gdLst>
                <a:gd name="csX0" fmla="*/ 0 w 48511"/>
                <a:gd name="csY0" fmla="*/ 0 h 4207"/>
                <a:gd name="csX1" fmla="*/ 48512 w 48511"/>
                <a:gd name="csY1" fmla="*/ 0 h 420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48511" h="4207">
                  <a:moveTo>
                    <a:pt x="0" y="0"/>
                  </a:moveTo>
                  <a:lnTo>
                    <a:pt x="48512" y="0"/>
                  </a:lnTo>
                </a:path>
              </a:pathLst>
            </a:custGeom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AE1BC9F-2EF3-64E8-4EF0-FAA7CB9E7E1B}"/>
                </a:ext>
              </a:extLst>
            </p:cNvPr>
            <p:cNvSpPr/>
            <p:nvPr/>
          </p:nvSpPr>
          <p:spPr>
            <a:xfrm>
              <a:off x="2497930" y="4255908"/>
              <a:ext cx="40938" cy="18975"/>
            </a:xfrm>
            <a:custGeom>
              <a:avLst/>
              <a:gdLst>
                <a:gd name="csX0" fmla="*/ 0 w 40938"/>
                <a:gd name="csY0" fmla="*/ 18975 h 18975"/>
                <a:gd name="csX1" fmla="*/ 40938 w 40938"/>
                <a:gd name="csY1" fmla="*/ 0 h 1897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40938" h="18975">
                  <a:moveTo>
                    <a:pt x="0" y="18975"/>
                  </a:moveTo>
                  <a:cubicBezTo>
                    <a:pt x="0" y="18975"/>
                    <a:pt x="29662" y="14642"/>
                    <a:pt x="40938" y="0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291F902-769A-4F86-DB2E-70106AAFE3DF}"/>
                </a:ext>
              </a:extLst>
            </p:cNvPr>
            <p:cNvSpPr/>
            <p:nvPr/>
          </p:nvSpPr>
          <p:spPr>
            <a:xfrm>
              <a:off x="2562850" y="4311656"/>
              <a:ext cx="13253" cy="50741"/>
            </a:xfrm>
            <a:custGeom>
              <a:avLst/>
              <a:gdLst>
                <a:gd name="csX0" fmla="*/ 13253 w 13253"/>
                <a:gd name="csY0" fmla="*/ 0 h 50741"/>
                <a:gd name="csX1" fmla="*/ 0 w 13253"/>
                <a:gd name="csY1" fmla="*/ 50742 h 5074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3253" h="50741">
                  <a:moveTo>
                    <a:pt x="13253" y="0"/>
                  </a:moveTo>
                  <a:cubicBezTo>
                    <a:pt x="13253" y="0"/>
                    <a:pt x="13001" y="32608"/>
                    <a:pt x="0" y="50742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4571D2F3-0AFB-7103-D34F-D57A90FA1C68}"/>
                </a:ext>
              </a:extLst>
            </p:cNvPr>
            <p:cNvSpPr/>
            <p:nvPr/>
          </p:nvSpPr>
          <p:spPr>
            <a:xfrm>
              <a:off x="2614349" y="4311656"/>
              <a:ext cx="15567" cy="50741"/>
            </a:xfrm>
            <a:custGeom>
              <a:avLst/>
              <a:gdLst>
                <a:gd name="csX0" fmla="*/ 0 w 15567"/>
                <a:gd name="csY0" fmla="*/ 0 h 50741"/>
                <a:gd name="csX1" fmla="*/ 15567 w 15567"/>
                <a:gd name="csY1" fmla="*/ 50742 h 5074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5567" h="50741">
                  <a:moveTo>
                    <a:pt x="0" y="0"/>
                  </a:moveTo>
                  <a:cubicBezTo>
                    <a:pt x="0" y="0"/>
                    <a:pt x="1641" y="37488"/>
                    <a:pt x="15567" y="50742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A7D2BED-BC3E-00E8-D4A6-2C844A43A99D}"/>
                </a:ext>
              </a:extLst>
            </p:cNvPr>
            <p:cNvSpPr/>
            <p:nvPr/>
          </p:nvSpPr>
          <p:spPr>
            <a:xfrm>
              <a:off x="2559232" y="4269498"/>
              <a:ext cx="71778" cy="42158"/>
            </a:xfrm>
            <a:custGeom>
              <a:avLst/>
              <a:gdLst>
                <a:gd name="csX0" fmla="*/ 71779 w 71778"/>
                <a:gd name="csY0" fmla="*/ 14936 h 42158"/>
                <a:gd name="csX1" fmla="*/ 71779 w 71778"/>
                <a:gd name="csY1" fmla="*/ 0 h 42158"/>
                <a:gd name="csX2" fmla="*/ 60250 w 71778"/>
                <a:gd name="csY2" fmla="*/ 0 h 42158"/>
                <a:gd name="csX3" fmla="*/ 60250 w 71778"/>
                <a:gd name="csY3" fmla="*/ 14936 h 42158"/>
                <a:gd name="csX4" fmla="*/ 45314 w 71778"/>
                <a:gd name="csY4" fmla="*/ 14936 h 42158"/>
                <a:gd name="csX5" fmla="*/ 45314 w 71778"/>
                <a:gd name="csY5" fmla="*/ 0 h 42158"/>
                <a:gd name="csX6" fmla="*/ 28400 w 71778"/>
                <a:gd name="csY6" fmla="*/ 0 h 42158"/>
                <a:gd name="csX7" fmla="*/ 28400 w 71778"/>
                <a:gd name="csY7" fmla="*/ 14936 h 42158"/>
                <a:gd name="csX8" fmla="*/ 13464 w 71778"/>
                <a:gd name="csY8" fmla="*/ 14936 h 42158"/>
                <a:gd name="csX9" fmla="*/ 13464 w 71778"/>
                <a:gd name="csY9" fmla="*/ 0 h 42158"/>
                <a:gd name="csX10" fmla="*/ 0 w 71778"/>
                <a:gd name="csY10" fmla="*/ 0 h 42158"/>
                <a:gd name="csX11" fmla="*/ 0 w 71778"/>
                <a:gd name="csY11" fmla="*/ 34795 h 42158"/>
                <a:gd name="csX12" fmla="*/ 7363 w 71778"/>
                <a:gd name="csY12" fmla="*/ 42158 h 42158"/>
                <a:gd name="csX13" fmla="*/ 64247 w 71778"/>
                <a:gd name="csY13" fmla="*/ 42158 h 42158"/>
                <a:gd name="csX14" fmla="*/ 71610 w 71778"/>
                <a:gd name="csY14" fmla="*/ 34627 h 42158"/>
                <a:gd name="csX15" fmla="*/ 71779 w 71778"/>
                <a:gd name="csY15" fmla="*/ 14936 h 4215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71778" h="42158">
                  <a:moveTo>
                    <a:pt x="71779" y="14936"/>
                  </a:moveTo>
                  <a:lnTo>
                    <a:pt x="71779" y="0"/>
                  </a:lnTo>
                  <a:lnTo>
                    <a:pt x="60250" y="0"/>
                  </a:lnTo>
                  <a:lnTo>
                    <a:pt x="60250" y="14936"/>
                  </a:lnTo>
                  <a:lnTo>
                    <a:pt x="45314" y="14936"/>
                  </a:lnTo>
                  <a:lnTo>
                    <a:pt x="45314" y="0"/>
                  </a:lnTo>
                  <a:lnTo>
                    <a:pt x="28400" y="0"/>
                  </a:lnTo>
                  <a:lnTo>
                    <a:pt x="28400" y="14936"/>
                  </a:lnTo>
                  <a:lnTo>
                    <a:pt x="13464" y="14936"/>
                  </a:lnTo>
                  <a:lnTo>
                    <a:pt x="13464" y="0"/>
                  </a:lnTo>
                  <a:lnTo>
                    <a:pt x="0" y="0"/>
                  </a:lnTo>
                  <a:lnTo>
                    <a:pt x="0" y="34795"/>
                  </a:lnTo>
                  <a:cubicBezTo>
                    <a:pt x="0" y="38877"/>
                    <a:pt x="3282" y="42158"/>
                    <a:pt x="7363" y="42158"/>
                  </a:cubicBezTo>
                  <a:lnTo>
                    <a:pt x="64247" y="42158"/>
                  </a:lnTo>
                  <a:cubicBezTo>
                    <a:pt x="68371" y="42158"/>
                    <a:pt x="71694" y="38792"/>
                    <a:pt x="71610" y="34627"/>
                  </a:cubicBezTo>
                  <a:cubicBezTo>
                    <a:pt x="71442" y="26591"/>
                    <a:pt x="71316" y="14936"/>
                    <a:pt x="71779" y="14936"/>
                  </a:cubicBezTo>
                  <a:close/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0509ABC6-EC2A-77F5-ED1B-95A1A904004C}"/>
                </a:ext>
              </a:extLst>
            </p:cNvPr>
            <p:cNvSpPr/>
            <p:nvPr/>
          </p:nvSpPr>
          <p:spPr>
            <a:xfrm>
              <a:off x="2547241" y="4362398"/>
              <a:ext cx="97275" cy="18386"/>
            </a:xfrm>
            <a:custGeom>
              <a:avLst/>
              <a:gdLst>
                <a:gd name="csX0" fmla="*/ 18344 w 97275"/>
                <a:gd name="csY0" fmla="*/ 0 h 18386"/>
                <a:gd name="csX1" fmla="*/ 78889 w 97275"/>
                <a:gd name="csY1" fmla="*/ 0 h 18386"/>
                <a:gd name="csX2" fmla="*/ 97276 w 97275"/>
                <a:gd name="csY2" fmla="*/ 18386 h 18386"/>
                <a:gd name="csX3" fmla="*/ 0 w 97275"/>
                <a:gd name="csY3" fmla="*/ 18386 h 18386"/>
                <a:gd name="csX4" fmla="*/ 18386 w 97275"/>
                <a:gd name="csY4" fmla="*/ 0 h 1838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97275" h="18386">
                  <a:moveTo>
                    <a:pt x="18344" y="0"/>
                  </a:moveTo>
                  <a:lnTo>
                    <a:pt x="78889" y="0"/>
                  </a:lnTo>
                  <a:cubicBezTo>
                    <a:pt x="89029" y="0"/>
                    <a:pt x="97276" y="8247"/>
                    <a:pt x="97276" y="18386"/>
                  </a:cubicBezTo>
                  <a:lnTo>
                    <a:pt x="0" y="18386"/>
                  </a:lnTo>
                  <a:cubicBezTo>
                    <a:pt x="0" y="8247"/>
                    <a:pt x="8247" y="0"/>
                    <a:pt x="18386" y="0"/>
                  </a:cubicBezTo>
                  <a:close/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8DB080DC-961A-310F-BA36-213FE2C0FF25}"/>
                </a:ext>
              </a:extLst>
            </p:cNvPr>
            <p:cNvSpPr/>
            <p:nvPr/>
          </p:nvSpPr>
          <p:spPr>
            <a:xfrm>
              <a:off x="2541224" y="4218378"/>
              <a:ext cx="32060" cy="32060"/>
            </a:xfrm>
            <a:prstGeom prst="ellipse">
              <a:avLst/>
            </a:prstGeom>
            <a:noFill/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8C72F098-B949-7F58-3A5D-E4E1E6E60A87}"/>
                </a:ext>
              </a:extLst>
            </p:cNvPr>
            <p:cNvSpPr/>
            <p:nvPr/>
          </p:nvSpPr>
          <p:spPr>
            <a:xfrm>
              <a:off x="2553804" y="4230958"/>
              <a:ext cx="6900" cy="6900"/>
            </a:xfrm>
            <a:prstGeom prst="ellipse">
              <a:avLst/>
            </a:prstGeom>
            <a:noFill/>
            <a:ln w="9525" cap="flat">
              <a:solidFill>
                <a:schemeClr val="accent2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</p:grpSp>
      <p:pic>
        <p:nvPicPr>
          <p:cNvPr id="3078" name="Picture 6" descr="CaSDaR Events - 1 Upcoming Activities and Tickets | Eventbrite">
            <a:extLst>
              <a:ext uri="{FF2B5EF4-FFF2-40B4-BE49-F238E27FC236}">
                <a16:creationId xmlns:a16="http://schemas.microsoft.com/office/drawing/2014/main" id="{297E427A-B239-ED6F-89DA-725E3779A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5241" y="1842810"/>
            <a:ext cx="2245894" cy="1122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UK Trusted Research Environment ...">
            <a:extLst>
              <a:ext uri="{FF2B5EF4-FFF2-40B4-BE49-F238E27FC236}">
                <a16:creationId xmlns:a16="http://schemas.microsoft.com/office/drawing/2014/main" id="{0C52FFCF-4A21-4DA5-D064-FD4C01E231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5028" y="3296741"/>
            <a:ext cx="2470486" cy="948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7942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935EC2-CEA4-42C7-C9F6-5B8CF8B5A8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C73DFF-A0FA-039D-49B0-281AC47622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fld id="{A134C65A-A9BE-9F48-B07C-F2CA02A2F7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66BD848-E412-8443-044D-D9F37E1B530F}"/>
              </a:ext>
            </a:extLst>
          </p:cNvPr>
          <p:cNvSpPr txBox="1">
            <a:spLocks/>
          </p:cNvSpPr>
          <p:nvPr/>
        </p:nvSpPr>
        <p:spPr>
          <a:xfrm>
            <a:off x="2489200" y="1300801"/>
            <a:ext cx="7635002" cy="228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How </a:t>
            </a:r>
            <a:r>
              <a:rPr lang="en-US" sz="1600" b="0" i="1" dirty="0">
                <a:solidFill>
                  <a:srgbClr val="3CB28C"/>
                </a:solidFill>
                <a:latin typeface="Calibri" panose="020F0502020204030204"/>
              </a:rPr>
              <a:t>stakeholder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 can help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5" name="Title 9">
            <a:extLst>
              <a:ext uri="{FF2B5EF4-FFF2-40B4-BE49-F238E27FC236}">
                <a16:creationId xmlns:a16="http://schemas.microsoft.com/office/drawing/2014/main" id="{DBFC6E90-8942-D45E-FCAA-AB426696CA19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475DA7"/>
                </a:solidFill>
                <a:latin typeface="Calibri" panose="020F0502020204030204"/>
              </a:rPr>
              <a:t>A snapshot of recommendation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475DA7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50534E79-EBB7-8C72-5D24-0BB9A66A9A52}"/>
              </a:ext>
            </a:extLst>
          </p:cNvPr>
          <p:cNvSpPr txBox="1">
            <a:spLocks/>
          </p:cNvSpPr>
          <p:nvPr/>
        </p:nvSpPr>
        <p:spPr>
          <a:xfrm>
            <a:off x="11533188" y="6339811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| </a:t>
            </a:r>
            <a:fld id="{A134C65A-A9BE-9F48-B07C-F2CA02A2F78A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3969660-1C94-DB28-6190-F84180E5EFFB}"/>
              </a:ext>
            </a:extLst>
          </p:cNvPr>
          <p:cNvSpPr/>
          <p:nvPr/>
        </p:nvSpPr>
        <p:spPr>
          <a:xfrm>
            <a:off x="5445024" y="1680336"/>
            <a:ext cx="3071935" cy="422784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lvl="0" algn="ctr">
              <a:defRPr/>
            </a:pPr>
            <a:r>
              <a:rPr lang="en-US" sz="1600" b="1" u="sng" dirty="0">
                <a:solidFill>
                  <a:srgbClr val="FFFFFF"/>
                </a:solidFill>
                <a:ea typeface="Calibri"/>
                <a:cs typeface="Calibri"/>
              </a:rPr>
              <a:t>TRE operato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1647E3-9713-8C06-9B63-DF5AF29C87F7}"/>
              </a:ext>
            </a:extLst>
          </p:cNvPr>
          <p:cNvSpPr/>
          <p:nvPr/>
        </p:nvSpPr>
        <p:spPr>
          <a:xfrm>
            <a:off x="2249411" y="1680336"/>
            <a:ext cx="3071935" cy="4227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lvl="0" algn="ctr">
              <a:defRPr/>
            </a:pPr>
            <a:r>
              <a:rPr lang="en-US" sz="1600" b="1" u="sng" dirty="0">
                <a:solidFill>
                  <a:srgbClr val="FFFFFF"/>
                </a:solidFill>
                <a:ea typeface="Calibri"/>
                <a:cs typeface="Calibri"/>
              </a:rPr>
              <a:t>Training provider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61E4E1-DA18-621B-700E-7DB6378B8E70}"/>
              </a:ext>
            </a:extLst>
          </p:cNvPr>
          <p:cNvSpPr/>
          <p:nvPr/>
        </p:nvSpPr>
        <p:spPr>
          <a:xfrm>
            <a:off x="8640640" y="1680336"/>
            <a:ext cx="3071935" cy="4227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lvl="0" algn="ctr">
              <a:defRPr/>
            </a:pPr>
            <a:r>
              <a:rPr lang="en-US" sz="1600" b="1" u="sng" dirty="0">
                <a:solidFill>
                  <a:srgbClr val="FFFFFF"/>
                </a:solidFill>
                <a:ea typeface="Calibri"/>
                <a:cs typeface="Calibri"/>
              </a:rPr>
              <a:t>Data &amp;  information governance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D8A8FD3-2522-1D0E-E805-EBF360C57159}"/>
              </a:ext>
            </a:extLst>
          </p:cNvPr>
          <p:cNvSpPr txBox="1"/>
          <p:nvPr/>
        </p:nvSpPr>
        <p:spPr>
          <a:xfrm>
            <a:off x="3177337" y="2411310"/>
            <a:ext cx="2124959" cy="83099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200"/>
              </a:spcAft>
            </a:pPr>
            <a:r>
              <a:rPr lang="en-US" sz="1600" dirty="0">
                <a:solidFill>
                  <a:schemeClr val="tx2"/>
                </a:solidFill>
                <a:ea typeface="Calibri" panose="020F0502020204030204"/>
                <a:cs typeface="Calibri" panose="020F0502020204030204"/>
              </a:rPr>
              <a:t>Develop training covering priority areas 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691487A-3932-8AAC-8E1C-7C43FE093010}"/>
              </a:ext>
            </a:extLst>
          </p:cNvPr>
          <p:cNvSpPr/>
          <p:nvPr/>
        </p:nvSpPr>
        <p:spPr>
          <a:xfrm>
            <a:off x="2268461" y="2433271"/>
            <a:ext cx="787074" cy="7870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7EAF8-CD87-5DD3-35B4-7C5875C570AD}"/>
              </a:ext>
            </a:extLst>
          </p:cNvPr>
          <p:cNvSpPr txBox="1"/>
          <p:nvPr/>
        </p:nvSpPr>
        <p:spPr>
          <a:xfrm>
            <a:off x="3177337" y="3873081"/>
            <a:ext cx="2124959" cy="83099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200"/>
              </a:spcAft>
            </a:pPr>
            <a:r>
              <a:rPr lang="en-US" sz="1600" dirty="0">
                <a:solidFill>
                  <a:schemeClr val="tx2"/>
                </a:solidFill>
                <a:ea typeface="Calibri" panose="020F0502020204030204"/>
                <a:cs typeface="Calibri" panose="020F0502020204030204"/>
              </a:rPr>
              <a:t>Engage TRE operators and curators to ensure training is applicable across settings and career stages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7EBF936B-B2AC-E509-FFF2-26994A621D0E}"/>
              </a:ext>
            </a:extLst>
          </p:cNvPr>
          <p:cNvSpPr/>
          <p:nvPr/>
        </p:nvSpPr>
        <p:spPr>
          <a:xfrm>
            <a:off x="2268461" y="3895042"/>
            <a:ext cx="787074" cy="7870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14BCBD2-138E-24F8-494E-5AEBD473C22C}"/>
              </a:ext>
            </a:extLst>
          </p:cNvPr>
          <p:cNvSpPr txBox="1"/>
          <p:nvPr/>
        </p:nvSpPr>
        <p:spPr>
          <a:xfrm>
            <a:off x="3177337" y="5334852"/>
            <a:ext cx="2124959" cy="83099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200"/>
              </a:spcAft>
            </a:pPr>
            <a:r>
              <a:rPr lang="en-US" sz="1600" dirty="0">
                <a:solidFill>
                  <a:schemeClr val="tx2"/>
                </a:solidFill>
                <a:ea typeface="Calibri" panose="020F0502020204030204"/>
                <a:cs typeface="Calibri" panose="020F0502020204030204"/>
              </a:rPr>
              <a:t>Adopt evidence-based insights from the report into relevant new and existing skills frameworks 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CF480F27-3585-FA76-4345-AA544BA86133}"/>
              </a:ext>
            </a:extLst>
          </p:cNvPr>
          <p:cNvSpPr/>
          <p:nvPr/>
        </p:nvSpPr>
        <p:spPr>
          <a:xfrm>
            <a:off x="2268461" y="5356813"/>
            <a:ext cx="787074" cy="7870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endParaRPr lang="en-GB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8A3BD0B-B9E7-9EF3-62F6-02CE899CA64F}"/>
              </a:ext>
            </a:extLst>
          </p:cNvPr>
          <p:cNvCxnSpPr>
            <a:cxnSpLocks/>
          </p:cNvCxnSpPr>
          <p:nvPr/>
        </p:nvCxnSpPr>
        <p:spPr>
          <a:xfrm flipH="1">
            <a:off x="2249411" y="3557694"/>
            <a:ext cx="9463164" cy="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779E5FAE-0A9D-8A4C-3026-182339A3A5C4}"/>
              </a:ext>
            </a:extLst>
          </p:cNvPr>
          <p:cNvCxnSpPr>
            <a:cxnSpLocks/>
          </p:cNvCxnSpPr>
          <p:nvPr/>
        </p:nvCxnSpPr>
        <p:spPr>
          <a:xfrm flipH="1">
            <a:off x="2249411" y="5019465"/>
            <a:ext cx="9463164" cy="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0B822519-7D06-49F1-F613-BFD240B508C9}"/>
              </a:ext>
            </a:extLst>
          </p:cNvPr>
          <p:cNvSpPr txBox="1"/>
          <p:nvPr/>
        </p:nvSpPr>
        <p:spPr>
          <a:xfrm>
            <a:off x="6372950" y="2411310"/>
            <a:ext cx="2124959" cy="83099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200"/>
              </a:spcAft>
            </a:pPr>
            <a:r>
              <a:rPr lang="en-US" sz="1600" dirty="0">
                <a:solidFill>
                  <a:schemeClr val="tx2"/>
                </a:solidFill>
                <a:ea typeface="Calibri" panose="020F0502020204030204"/>
                <a:cs typeface="Calibri" panose="020F0502020204030204"/>
              </a:rPr>
              <a:t>Coordinate across infrastructures to support portability of skills and staff mobility.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1D24360D-8C04-FB4B-6305-7697C55DF278}"/>
              </a:ext>
            </a:extLst>
          </p:cNvPr>
          <p:cNvSpPr/>
          <p:nvPr/>
        </p:nvSpPr>
        <p:spPr>
          <a:xfrm>
            <a:off x="5464074" y="2433271"/>
            <a:ext cx="787074" cy="7870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57AD520-A31C-76D7-3394-8283179EA97F}"/>
              </a:ext>
            </a:extLst>
          </p:cNvPr>
          <p:cNvSpPr txBox="1"/>
          <p:nvPr/>
        </p:nvSpPr>
        <p:spPr>
          <a:xfrm>
            <a:off x="6372950" y="3873081"/>
            <a:ext cx="2124959" cy="83099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200"/>
              </a:spcAft>
            </a:pPr>
            <a:r>
              <a:rPr lang="en-US" sz="1600" dirty="0">
                <a:solidFill>
                  <a:schemeClr val="tx2"/>
                </a:solidFill>
                <a:ea typeface="Calibri" panose="020F0502020204030204"/>
                <a:cs typeface="Calibri" panose="020F0502020204030204"/>
              </a:rPr>
              <a:t>Support  skill development across career stages through participation in, and feedback on, new training provision 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C673A6B5-5511-A7CD-A1F7-0E4CABE36973}"/>
              </a:ext>
            </a:extLst>
          </p:cNvPr>
          <p:cNvSpPr/>
          <p:nvPr/>
        </p:nvSpPr>
        <p:spPr>
          <a:xfrm>
            <a:off x="5464074" y="3895042"/>
            <a:ext cx="787074" cy="7870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C6D4B58-7D6A-B113-AD26-EC17FE0A2C13}"/>
              </a:ext>
            </a:extLst>
          </p:cNvPr>
          <p:cNvSpPr txBox="1"/>
          <p:nvPr/>
        </p:nvSpPr>
        <p:spPr>
          <a:xfrm>
            <a:off x="6372950" y="5334852"/>
            <a:ext cx="2124959" cy="83099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200"/>
              </a:spcAft>
            </a:pPr>
            <a:r>
              <a:rPr lang="en-US" sz="1600" dirty="0" err="1">
                <a:solidFill>
                  <a:schemeClr val="tx2"/>
                </a:solidFill>
                <a:ea typeface="Calibri" panose="020F0502020204030204"/>
                <a:cs typeface="Calibri" panose="020F0502020204030204"/>
              </a:rPr>
              <a:t>Recognise</a:t>
            </a:r>
            <a:r>
              <a:rPr lang="en-US" sz="1600" dirty="0">
                <a:solidFill>
                  <a:schemeClr val="tx2"/>
                </a:solidFill>
                <a:ea typeface="Calibri" panose="020F0502020204030204"/>
                <a:cs typeface="Calibri" panose="020F0502020204030204"/>
              </a:rPr>
              <a:t> sensitive data curation as a technical skill in roles and career pathways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2D7C5008-1BC1-87D7-33E0-5C45D48F1332}"/>
              </a:ext>
            </a:extLst>
          </p:cNvPr>
          <p:cNvSpPr/>
          <p:nvPr/>
        </p:nvSpPr>
        <p:spPr>
          <a:xfrm>
            <a:off x="5464074" y="5356813"/>
            <a:ext cx="787074" cy="7870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5AACF04-E5F6-70F5-938B-95D18F1C32EC}"/>
              </a:ext>
            </a:extLst>
          </p:cNvPr>
          <p:cNvSpPr txBox="1"/>
          <p:nvPr/>
        </p:nvSpPr>
        <p:spPr>
          <a:xfrm>
            <a:off x="9568566" y="2411310"/>
            <a:ext cx="2124959" cy="83099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200"/>
              </a:spcAft>
            </a:pPr>
            <a:r>
              <a:rPr lang="en-US" sz="1600" dirty="0">
                <a:solidFill>
                  <a:schemeClr val="tx2"/>
                </a:solidFill>
                <a:ea typeface="Calibri" panose="020F0502020204030204"/>
                <a:cs typeface="Calibri" panose="020F0502020204030204"/>
              </a:rPr>
              <a:t>Support interpretation of legal obligations (including/beyond GDPR) as a core component of data curation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B3C8BBAB-297C-D4DD-EA52-20D57F034C7B}"/>
              </a:ext>
            </a:extLst>
          </p:cNvPr>
          <p:cNvSpPr/>
          <p:nvPr/>
        </p:nvSpPr>
        <p:spPr>
          <a:xfrm>
            <a:off x="8659690" y="2433271"/>
            <a:ext cx="787074" cy="7870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EBAF081-84E9-40F2-7C45-716A1783D4ED}"/>
              </a:ext>
            </a:extLst>
          </p:cNvPr>
          <p:cNvSpPr txBox="1"/>
          <p:nvPr/>
        </p:nvSpPr>
        <p:spPr>
          <a:xfrm>
            <a:off x="9568566" y="3873081"/>
            <a:ext cx="2124959" cy="83099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200"/>
              </a:spcAft>
            </a:pPr>
            <a:r>
              <a:rPr lang="en-US" sz="1600" dirty="0">
                <a:solidFill>
                  <a:schemeClr val="tx2"/>
                </a:solidFill>
                <a:ea typeface="Calibri" panose="020F0502020204030204"/>
                <a:cs typeface="Calibri" panose="020F0502020204030204"/>
              </a:rPr>
              <a:t>Promote consistent governance frameworks across TREs acknowledging TREs operate under diverse legal/governance bases 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720AA6F7-150B-2B43-AF64-A23E0193ABE4}"/>
              </a:ext>
            </a:extLst>
          </p:cNvPr>
          <p:cNvSpPr/>
          <p:nvPr/>
        </p:nvSpPr>
        <p:spPr>
          <a:xfrm>
            <a:off x="8659690" y="3895042"/>
            <a:ext cx="787074" cy="7870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66D0438-489E-B746-BA58-17C6C6EA6C6A}"/>
              </a:ext>
            </a:extLst>
          </p:cNvPr>
          <p:cNvSpPr txBox="1"/>
          <p:nvPr/>
        </p:nvSpPr>
        <p:spPr>
          <a:xfrm>
            <a:off x="9568566" y="5511314"/>
            <a:ext cx="2124959" cy="83099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200"/>
              </a:spcAft>
            </a:pPr>
            <a:r>
              <a:rPr lang="en-US" sz="1600" dirty="0">
                <a:solidFill>
                  <a:schemeClr val="tx2"/>
                </a:solidFill>
                <a:ea typeface="Calibri" panose="020F0502020204030204"/>
                <a:cs typeface="Calibri" panose="020F0502020204030204"/>
              </a:rPr>
              <a:t>Strengthen recognition of sensitive data curation as professional skillset by </a:t>
            </a:r>
            <a:r>
              <a:rPr lang="en-US" sz="1600" dirty="0" err="1">
                <a:solidFill>
                  <a:schemeClr val="tx2"/>
                </a:solidFill>
                <a:ea typeface="Calibri" panose="020F0502020204030204"/>
                <a:cs typeface="Calibri" panose="020F0502020204030204"/>
              </a:rPr>
              <a:t>formalising</a:t>
            </a:r>
            <a:r>
              <a:rPr lang="en-US" sz="1600" dirty="0">
                <a:solidFill>
                  <a:schemeClr val="tx2"/>
                </a:solidFill>
                <a:ea typeface="Calibri" panose="020F0502020204030204"/>
                <a:cs typeface="Calibri" panose="020F0502020204030204"/>
              </a:rPr>
              <a:t> expectations in  governance standards, oversight frameworks.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BE8A0091-F550-1E6D-DB4A-B48F05B2D65F}"/>
              </a:ext>
            </a:extLst>
          </p:cNvPr>
          <p:cNvSpPr/>
          <p:nvPr/>
        </p:nvSpPr>
        <p:spPr>
          <a:xfrm>
            <a:off x="8659690" y="5356813"/>
            <a:ext cx="787074" cy="7870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endParaRPr lang="en-GB" dirty="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CED2257C-9B44-CEC7-5154-7D094168D7BB}"/>
              </a:ext>
            </a:extLst>
          </p:cNvPr>
          <p:cNvGrpSpPr/>
          <p:nvPr/>
        </p:nvGrpSpPr>
        <p:grpSpPr>
          <a:xfrm>
            <a:off x="2409835" y="2632433"/>
            <a:ext cx="502643" cy="386542"/>
            <a:chOff x="2409835" y="2632433"/>
            <a:chExt cx="502643" cy="386542"/>
          </a:xfrm>
        </p:grpSpPr>
        <p:grpSp>
          <p:nvGrpSpPr>
            <p:cNvPr id="77" name="Graphic 6">
              <a:extLst>
                <a:ext uri="{FF2B5EF4-FFF2-40B4-BE49-F238E27FC236}">
                  <a16:creationId xmlns:a16="http://schemas.microsoft.com/office/drawing/2014/main" id="{B88B34FC-9EB3-BEE4-4F0F-8B9799CC7BA4}"/>
                </a:ext>
              </a:extLst>
            </p:cNvPr>
            <p:cNvGrpSpPr/>
            <p:nvPr/>
          </p:nvGrpSpPr>
          <p:grpSpPr>
            <a:xfrm>
              <a:off x="2499878" y="2632433"/>
              <a:ext cx="309529" cy="220746"/>
              <a:chOff x="2499878" y="2632433"/>
              <a:chExt cx="309529" cy="220746"/>
            </a:xfrm>
            <a:noFill/>
          </p:grpSpPr>
          <p:grpSp>
            <p:nvGrpSpPr>
              <p:cNvPr id="87" name="Graphic 6">
                <a:extLst>
                  <a:ext uri="{FF2B5EF4-FFF2-40B4-BE49-F238E27FC236}">
                    <a16:creationId xmlns:a16="http://schemas.microsoft.com/office/drawing/2014/main" id="{31F1723C-82A4-1FAE-E738-DB743754390E}"/>
                  </a:ext>
                </a:extLst>
              </p:cNvPr>
              <p:cNvGrpSpPr/>
              <p:nvPr/>
            </p:nvGrpSpPr>
            <p:grpSpPr>
              <a:xfrm>
                <a:off x="2704760" y="2645671"/>
                <a:ext cx="104647" cy="186599"/>
                <a:chOff x="2704760" y="2645671"/>
                <a:chExt cx="104647" cy="186599"/>
              </a:xfrm>
              <a:noFill/>
            </p:grpSpPr>
            <p:sp>
              <p:nvSpPr>
                <p:cNvPr id="98" name="Freeform: Shape 97">
                  <a:extLst>
                    <a:ext uri="{FF2B5EF4-FFF2-40B4-BE49-F238E27FC236}">
                      <a16:creationId xmlns:a16="http://schemas.microsoft.com/office/drawing/2014/main" id="{0BCC9856-BFA7-D031-A074-DA49F692B855}"/>
                    </a:ext>
                  </a:extLst>
                </p:cNvPr>
                <p:cNvSpPr/>
                <p:nvPr/>
              </p:nvSpPr>
              <p:spPr>
                <a:xfrm>
                  <a:off x="2708543" y="2645671"/>
                  <a:ext cx="71608" cy="108429"/>
                </a:xfrm>
                <a:custGeom>
                  <a:avLst/>
                  <a:gdLst>
                    <a:gd name="csX0" fmla="*/ 3047 w 71608"/>
                    <a:gd name="csY0" fmla="*/ 7775 h 108429"/>
                    <a:gd name="csX1" fmla="*/ 25426 w 71608"/>
                    <a:gd name="csY1" fmla="*/ 0 h 108429"/>
                    <a:gd name="csX2" fmla="*/ 30575 w 71608"/>
                    <a:gd name="csY2" fmla="*/ 0 h 108429"/>
                    <a:gd name="csX3" fmla="*/ 66613 w 71608"/>
                    <a:gd name="csY3" fmla="*/ 36038 h 108429"/>
                    <a:gd name="csX4" fmla="*/ 66613 w 71608"/>
                    <a:gd name="csY4" fmla="*/ 53584 h 108429"/>
                    <a:gd name="csX5" fmla="*/ 71131 w 71608"/>
                    <a:gd name="csY5" fmla="*/ 62515 h 108429"/>
                    <a:gd name="csX6" fmla="*/ 60729 w 71608"/>
                    <a:gd name="csY6" fmla="*/ 80587 h 108429"/>
                    <a:gd name="csX7" fmla="*/ 29524 w 71608"/>
                    <a:gd name="csY7" fmla="*/ 108430 h 108429"/>
                    <a:gd name="csX8" fmla="*/ 26267 w 71608"/>
                    <a:gd name="csY8" fmla="*/ 108430 h 108429"/>
                    <a:gd name="csX9" fmla="*/ 0 w 71608"/>
                    <a:gd name="csY9" fmla="*/ 89097 h 10842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71608" h="108429">
                      <a:moveTo>
                        <a:pt x="3047" y="7775"/>
                      </a:moveTo>
                      <a:cubicBezTo>
                        <a:pt x="9246" y="2942"/>
                        <a:pt x="16916" y="0"/>
                        <a:pt x="25426" y="0"/>
                      </a:cubicBezTo>
                      <a:lnTo>
                        <a:pt x="30575" y="0"/>
                      </a:lnTo>
                      <a:cubicBezTo>
                        <a:pt x="50433" y="0"/>
                        <a:pt x="66613" y="16180"/>
                        <a:pt x="66613" y="36038"/>
                      </a:cubicBezTo>
                      <a:lnTo>
                        <a:pt x="66613" y="53584"/>
                      </a:lnTo>
                      <a:cubicBezTo>
                        <a:pt x="66613" y="53584"/>
                        <a:pt x="73442" y="51798"/>
                        <a:pt x="71131" y="62515"/>
                      </a:cubicBezTo>
                      <a:cubicBezTo>
                        <a:pt x="69450" y="71446"/>
                        <a:pt x="66613" y="79431"/>
                        <a:pt x="60729" y="80587"/>
                      </a:cubicBezTo>
                      <a:cubicBezTo>
                        <a:pt x="60729" y="80587"/>
                        <a:pt x="49172" y="108430"/>
                        <a:pt x="29524" y="108430"/>
                      </a:cubicBezTo>
                      <a:lnTo>
                        <a:pt x="26267" y="108430"/>
                      </a:lnTo>
                      <a:cubicBezTo>
                        <a:pt x="12713" y="108430"/>
                        <a:pt x="4203" y="96872"/>
                        <a:pt x="0" y="89097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99" name="Freeform: Shape 98">
                  <a:extLst>
                    <a:ext uri="{FF2B5EF4-FFF2-40B4-BE49-F238E27FC236}">
                      <a16:creationId xmlns:a16="http://schemas.microsoft.com/office/drawing/2014/main" id="{D934092A-12BC-F3B4-1F81-A57C2DE8F786}"/>
                    </a:ext>
                  </a:extLst>
                </p:cNvPr>
                <p:cNvSpPr/>
                <p:nvPr/>
              </p:nvSpPr>
              <p:spPr>
                <a:xfrm>
                  <a:off x="2753827" y="2756412"/>
                  <a:ext cx="55580" cy="75858"/>
                </a:xfrm>
                <a:custGeom>
                  <a:avLst/>
                  <a:gdLst>
                    <a:gd name="csX0" fmla="*/ 0 w 55580"/>
                    <a:gd name="csY0" fmla="*/ 75859 h 75858"/>
                    <a:gd name="csX1" fmla="*/ 55581 w 55580"/>
                    <a:gd name="csY1" fmla="*/ 75859 h 75858"/>
                    <a:gd name="csX2" fmla="*/ 53900 w 55580"/>
                    <a:gd name="csY2" fmla="*/ 31100 h 75858"/>
                    <a:gd name="csX3" fmla="*/ 42868 w 55580"/>
                    <a:gd name="csY3" fmla="*/ 15655 h 75858"/>
                    <a:gd name="csX4" fmla="*/ 5358 w 55580"/>
                    <a:gd name="csY4" fmla="*/ 0 h 758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55580" h="75858">
                      <a:moveTo>
                        <a:pt x="0" y="75859"/>
                      </a:moveTo>
                      <a:lnTo>
                        <a:pt x="55581" y="75859"/>
                      </a:lnTo>
                      <a:lnTo>
                        <a:pt x="53900" y="31100"/>
                      </a:lnTo>
                      <a:cubicBezTo>
                        <a:pt x="53900" y="31100"/>
                        <a:pt x="54740" y="20698"/>
                        <a:pt x="42868" y="15655"/>
                      </a:cubicBezTo>
                      <a:cubicBezTo>
                        <a:pt x="30995" y="10612"/>
                        <a:pt x="5358" y="0"/>
                        <a:pt x="5358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00" name="Freeform: Shape 99">
                  <a:extLst>
                    <a:ext uri="{FF2B5EF4-FFF2-40B4-BE49-F238E27FC236}">
                      <a16:creationId xmlns:a16="http://schemas.microsoft.com/office/drawing/2014/main" id="{4CD5AB98-2B1E-8BC0-1983-646F9FC7A0CD}"/>
                    </a:ext>
                  </a:extLst>
                </p:cNvPr>
                <p:cNvSpPr/>
                <p:nvPr/>
              </p:nvSpPr>
              <p:spPr>
                <a:xfrm>
                  <a:off x="2704760" y="2755046"/>
                  <a:ext cx="9351" cy="8090"/>
                </a:xfrm>
                <a:custGeom>
                  <a:avLst/>
                  <a:gdLst>
                    <a:gd name="csX0" fmla="*/ 9351 w 9351"/>
                    <a:gd name="csY0" fmla="*/ 0 h 8090"/>
                    <a:gd name="csX1" fmla="*/ 0 w 9351"/>
                    <a:gd name="csY1" fmla="*/ 8090 h 80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9351" h="8090">
                      <a:moveTo>
                        <a:pt x="9351" y="0"/>
                      </a:moveTo>
                      <a:lnTo>
                        <a:pt x="0" y="8090"/>
                      </a:lnTo>
                    </a:path>
                  </a:pathLst>
                </a:custGeom>
                <a:ln w="12700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</p:grpSp>
          <p:grpSp>
            <p:nvGrpSpPr>
              <p:cNvPr id="88" name="Graphic 6">
                <a:extLst>
                  <a:ext uri="{FF2B5EF4-FFF2-40B4-BE49-F238E27FC236}">
                    <a16:creationId xmlns:a16="http://schemas.microsoft.com/office/drawing/2014/main" id="{3761EC57-4536-1B8F-01D3-FF24FDC2C0B8}"/>
                  </a:ext>
                </a:extLst>
              </p:cNvPr>
              <p:cNvGrpSpPr/>
              <p:nvPr/>
            </p:nvGrpSpPr>
            <p:grpSpPr>
              <a:xfrm>
                <a:off x="2499878" y="2645671"/>
                <a:ext cx="104647" cy="186599"/>
                <a:chOff x="2499878" y="2645671"/>
                <a:chExt cx="104647" cy="186599"/>
              </a:xfrm>
              <a:noFill/>
            </p:grpSpPr>
            <p:sp>
              <p:nvSpPr>
                <p:cNvPr id="95" name="Freeform: Shape 94">
                  <a:extLst>
                    <a:ext uri="{FF2B5EF4-FFF2-40B4-BE49-F238E27FC236}">
                      <a16:creationId xmlns:a16="http://schemas.microsoft.com/office/drawing/2014/main" id="{1866A67F-93E6-2536-814F-AC8F2E80F33E}"/>
                    </a:ext>
                  </a:extLst>
                </p:cNvPr>
                <p:cNvSpPr/>
                <p:nvPr/>
              </p:nvSpPr>
              <p:spPr>
                <a:xfrm>
                  <a:off x="2529135" y="2645671"/>
                  <a:ext cx="71608" cy="108429"/>
                </a:xfrm>
                <a:custGeom>
                  <a:avLst/>
                  <a:gdLst>
                    <a:gd name="csX0" fmla="*/ 68562 w 71608"/>
                    <a:gd name="csY0" fmla="*/ 7775 h 108429"/>
                    <a:gd name="csX1" fmla="*/ 46182 w 71608"/>
                    <a:gd name="csY1" fmla="*/ 0 h 108429"/>
                    <a:gd name="csX2" fmla="*/ 41034 w 71608"/>
                    <a:gd name="csY2" fmla="*/ 0 h 108429"/>
                    <a:gd name="csX3" fmla="*/ 4996 w 71608"/>
                    <a:gd name="csY3" fmla="*/ 36038 h 108429"/>
                    <a:gd name="csX4" fmla="*/ 4996 w 71608"/>
                    <a:gd name="csY4" fmla="*/ 53584 h 108429"/>
                    <a:gd name="csX5" fmla="*/ 478 w 71608"/>
                    <a:gd name="csY5" fmla="*/ 62515 h 108429"/>
                    <a:gd name="csX6" fmla="*/ 10879 w 71608"/>
                    <a:gd name="csY6" fmla="*/ 80587 h 108429"/>
                    <a:gd name="csX7" fmla="*/ 42084 w 71608"/>
                    <a:gd name="csY7" fmla="*/ 108430 h 108429"/>
                    <a:gd name="csX8" fmla="*/ 45342 w 71608"/>
                    <a:gd name="csY8" fmla="*/ 108430 h 108429"/>
                    <a:gd name="csX9" fmla="*/ 71609 w 71608"/>
                    <a:gd name="csY9" fmla="*/ 89097 h 10842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71608" h="108429">
                      <a:moveTo>
                        <a:pt x="68562" y="7775"/>
                      </a:moveTo>
                      <a:cubicBezTo>
                        <a:pt x="62363" y="2942"/>
                        <a:pt x="54693" y="0"/>
                        <a:pt x="46182" y="0"/>
                      </a:cubicBezTo>
                      <a:lnTo>
                        <a:pt x="41034" y="0"/>
                      </a:lnTo>
                      <a:cubicBezTo>
                        <a:pt x="21176" y="0"/>
                        <a:pt x="4996" y="16180"/>
                        <a:pt x="4996" y="36038"/>
                      </a:cubicBezTo>
                      <a:lnTo>
                        <a:pt x="4996" y="53584"/>
                      </a:lnTo>
                      <a:cubicBezTo>
                        <a:pt x="4996" y="53584"/>
                        <a:pt x="-1834" y="51798"/>
                        <a:pt x="478" y="62515"/>
                      </a:cubicBezTo>
                      <a:cubicBezTo>
                        <a:pt x="2159" y="71446"/>
                        <a:pt x="4996" y="79431"/>
                        <a:pt x="10879" y="80587"/>
                      </a:cubicBezTo>
                      <a:cubicBezTo>
                        <a:pt x="10879" y="80587"/>
                        <a:pt x="22437" y="108430"/>
                        <a:pt x="42084" y="108430"/>
                      </a:cubicBezTo>
                      <a:lnTo>
                        <a:pt x="45342" y="108430"/>
                      </a:lnTo>
                      <a:cubicBezTo>
                        <a:pt x="58895" y="108430"/>
                        <a:pt x="67406" y="96872"/>
                        <a:pt x="71609" y="89097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96" name="Freeform: Shape 95">
                  <a:extLst>
                    <a:ext uri="{FF2B5EF4-FFF2-40B4-BE49-F238E27FC236}">
                      <a16:creationId xmlns:a16="http://schemas.microsoft.com/office/drawing/2014/main" id="{50B355E5-1372-37E3-F526-E67C78C24C31}"/>
                    </a:ext>
                  </a:extLst>
                </p:cNvPr>
                <p:cNvSpPr/>
                <p:nvPr/>
              </p:nvSpPr>
              <p:spPr>
                <a:xfrm>
                  <a:off x="2499878" y="2756412"/>
                  <a:ext cx="55580" cy="75858"/>
                </a:xfrm>
                <a:custGeom>
                  <a:avLst/>
                  <a:gdLst>
                    <a:gd name="csX0" fmla="*/ 55581 w 55580"/>
                    <a:gd name="csY0" fmla="*/ 75859 h 75858"/>
                    <a:gd name="csX1" fmla="*/ 0 w 55580"/>
                    <a:gd name="csY1" fmla="*/ 75859 h 75858"/>
                    <a:gd name="csX2" fmla="*/ 1681 w 55580"/>
                    <a:gd name="csY2" fmla="*/ 31100 h 75858"/>
                    <a:gd name="csX3" fmla="*/ 12713 w 55580"/>
                    <a:gd name="csY3" fmla="*/ 15655 h 75858"/>
                    <a:gd name="csX4" fmla="*/ 50222 w 55580"/>
                    <a:gd name="csY4" fmla="*/ 0 h 758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55580" h="75858">
                      <a:moveTo>
                        <a:pt x="55581" y="75859"/>
                      </a:moveTo>
                      <a:lnTo>
                        <a:pt x="0" y="75859"/>
                      </a:lnTo>
                      <a:cubicBezTo>
                        <a:pt x="0" y="75859"/>
                        <a:pt x="1681" y="31100"/>
                        <a:pt x="1681" y="31100"/>
                      </a:cubicBezTo>
                      <a:cubicBezTo>
                        <a:pt x="1681" y="31100"/>
                        <a:pt x="841" y="20698"/>
                        <a:pt x="12713" y="15655"/>
                      </a:cubicBezTo>
                      <a:cubicBezTo>
                        <a:pt x="24586" y="10612"/>
                        <a:pt x="50222" y="0"/>
                        <a:pt x="50222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97" name="Freeform: Shape 96">
                  <a:extLst>
                    <a:ext uri="{FF2B5EF4-FFF2-40B4-BE49-F238E27FC236}">
                      <a16:creationId xmlns:a16="http://schemas.microsoft.com/office/drawing/2014/main" id="{3C98B0A6-E5D2-9134-D75E-9C4FCBEFEEAC}"/>
                    </a:ext>
                  </a:extLst>
                </p:cNvPr>
                <p:cNvSpPr/>
                <p:nvPr/>
              </p:nvSpPr>
              <p:spPr>
                <a:xfrm>
                  <a:off x="2595174" y="2755046"/>
                  <a:ext cx="9351" cy="8090"/>
                </a:xfrm>
                <a:custGeom>
                  <a:avLst/>
                  <a:gdLst>
                    <a:gd name="csX0" fmla="*/ 0 w 9351"/>
                    <a:gd name="csY0" fmla="*/ 0 h 8090"/>
                    <a:gd name="csX1" fmla="*/ 9351 w 9351"/>
                    <a:gd name="csY1" fmla="*/ 8090 h 80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9351" h="8090">
                      <a:moveTo>
                        <a:pt x="0" y="0"/>
                      </a:moveTo>
                      <a:lnTo>
                        <a:pt x="9351" y="8090"/>
                      </a:lnTo>
                    </a:path>
                  </a:pathLst>
                </a:custGeom>
                <a:ln w="12700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</p:grpSp>
          <p:grpSp>
            <p:nvGrpSpPr>
              <p:cNvPr id="89" name="Graphic 6">
                <a:extLst>
                  <a:ext uri="{FF2B5EF4-FFF2-40B4-BE49-F238E27FC236}">
                    <a16:creationId xmlns:a16="http://schemas.microsoft.com/office/drawing/2014/main" id="{57FF44B7-2C10-4E8D-6520-B7F7D28CB58D}"/>
                  </a:ext>
                </a:extLst>
              </p:cNvPr>
              <p:cNvGrpSpPr/>
              <p:nvPr/>
            </p:nvGrpSpPr>
            <p:grpSpPr>
              <a:xfrm>
                <a:off x="2570378" y="2632433"/>
                <a:ext cx="172836" cy="220746"/>
                <a:chOff x="2570378" y="2632433"/>
                <a:chExt cx="172836" cy="220746"/>
              </a:xfrm>
              <a:noFill/>
            </p:grpSpPr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02574282-54E4-A38E-C483-9438841C041F}"/>
                    </a:ext>
                  </a:extLst>
                </p:cNvPr>
                <p:cNvSpPr/>
                <p:nvPr/>
              </p:nvSpPr>
              <p:spPr>
                <a:xfrm>
                  <a:off x="2604064" y="2632433"/>
                  <a:ext cx="104516" cy="128287"/>
                </a:xfrm>
                <a:custGeom>
                  <a:avLst/>
                  <a:gdLst>
                    <a:gd name="csX0" fmla="*/ 91766 w 104516"/>
                    <a:gd name="csY0" fmla="*/ 95296 h 128287"/>
                    <a:gd name="csX1" fmla="*/ 54887 w 104516"/>
                    <a:gd name="csY1" fmla="*/ 128287 h 128287"/>
                    <a:gd name="csX2" fmla="*/ 50999 w 104516"/>
                    <a:gd name="csY2" fmla="*/ 128287 h 128287"/>
                    <a:gd name="csX3" fmla="*/ 16117 w 104516"/>
                    <a:gd name="csY3" fmla="*/ 97187 h 128287"/>
                    <a:gd name="csX4" fmla="*/ 1828 w 104516"/>
                    <a:gd name="csY4" fmla="*/ 80271 h 128287"/>
                    <a:gd name="csX5" fmla="*/ 7186 w 104516"/>
                    <a:gd name="csY5" fmla="*/ 63671 h 128287"/>
                    <a:gd name="csX6" fmla="*/ 7186 w 104516"/>
                    <a:gd name="csY6" fmla="*/ 42657 h 128287"/>
                    <a:gd name="csX7" fmla="*/ 49844 w 104516"/>
                    <a:gd name="csY7" fmla="*/ 0 h 128287"/>
                    <a:gd name="csX8" fmla="*/ 55938 w 104516"/>
                    <a:gd name="csY8" fmla="*/ 0 h 128287"/>
                    <a:gd name="csX9" fmla="*/ 98595 w 104516"/>
                    <a:gd name="csY9" fmla="*/ 42657 h 128287"/>
                    <a:gd name="csX10" fmla="*/ 98595 w 104516"/>
                    <a:gd name="csY10" fmla="*/ 63356 h 128287"/>
                    <a:gd name="csX11" fmla="*/ 103954 w 104516"/>
                    <a:gd name="csY11" fmla="*/ 73862 h 128287"/>
                    <a:gd name="csX12" fmla="*/ 91661 w 104516"/>
                    <a:gd name="csY12" fmla="*/ 95191 h 12828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104516" h="128287">
                      <a:moveTo>
                        <a:pt x="91766" y="95296"/>
                      </a:moveTo>
                      <a:cubicBezTo>
                        <a:pt x="91766" y="95296"/>
                        <a:pt x="78107" y="128287"/>
                        <a:pt x="54887" y="128287"/>
                      </a:cubicBezTo>
                      <a:lnTo>
                        <a:pt x="50999" y="128287"/>
                      </a:lnTo>
                      <a:cubicBezTo>
                        <a:pt x="26729" y="128287"/>
                        <a:pt x="16117" y="97187"/>
                        <a:pt x="16117" y="97187"/>
                      </a:cubicBezTo>
                      <a:cubicBezTo>
                        <a:pt x="8867" y="95296"/>
                        <a:pt x="4139" y="86786"/>
                        <a:pt x="1828" y="80271"/>
                      </a:cubicBezTo>
                      <a:cubicBezTo>
                        <a:pt x="-4371" y="61254"/>
                        <a:pt x="7186" y="63671"/>
                        <a:pt x="7186" y="63671"/>
                      </a:cubicBezTo>
                      <a:lnTo>
                        <a:pt x="7186" y="42657"/>
                      </a:lnTo>
                      <a:cubicBezTo>
                        <a:pt x="7186" y="19227"/>
                        <a:pt x="26414" y="0"/>
                        <a:pt x="49844" y="0"/>
                      </a:cubicBezTo>
                      <a:lnTo>
                        <a:pt x="55938" y="0"/>
                      </a:lnTo>
                      <a:cubicBezTo>
                        <a:pt x="79368" y="0"/>
                        <a:pt x="98595" y="19227"/>
                        <a:pt x="98595" y="42657"/>
                      </a:cubicBezTo>
                      <a:lnTo>
                        <a:pt x="98595" y="63356"/>
                      </a:lnTo>
                      <a:cubicBezTo>
                        <a:pt x="98595" y="63356"/>
                        <a:pt x="106685" y="61149"/>
                        <a:pt x="103954" y="73862"/>
                      </a:cubicBezTo>
                      <a:cubicBezTo>
                        <a:pt x="101957" y="84369"/>
                        <a:pt x="98595" y="93825"/>
                        <a:pt x="91661" y="95191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91" name="Freeform: Shape 90">
                  <a:extLst>
                    <a:ext uri="{FF2B5EF4-FFF2-40B4-BE49-F238E27FC236}">
                      <a16:creationId xmlns:a16="http://schemas.microsoft.com/office/drawing/2014/main" id="{B370B814-9259-F124-7FD8-AB6DE4E2FE31}"/>
                    </a:ext>
                  </a:extLst>
                </p:cNvPr>
                <p:cNvSpPr/>
                <p:nvPr/>
              </p:nvSpPr>
              <p:spPr>
                <a:xfrm>
                  <a:off x="2570378" y="2759459"/>
                  <a:ext cx="172836" cy="93720"/>
                </a:xfrm>
                <a:custGeom>
                  <a:avLst/>
                  <a:gdLst>
                    <a:gd name="csX0" fmla="*/ 65772 w 172836"/>
                    <a:gd name="csY0" fmla="*/ 0 h 93720"/>
                    <a:gd name="csX1" fmla="*/ 11557 w 172836"/>
                    <a:gd name="csY1" fmla="*/ 23220 h 93720"/>
                    <a:gd name="csX2" fmla="*/ 1996 w 172836"/>
                    <a:gd name="csY2" fmla="*/ 39295 h 93720"/>
                    <a:gd name="csX3" fmla="*/ 0 w 172836"/>
                    <a:gd name="csY3" fmla="*/ 93720 h 93720"/>
                    <a:gd name="csX4" fmla="*/ 172836 w 172836"/>
                    <a:gd name="csY4" fmla="*/ 93720 h 93720"/>
                    <a:gd name="csX5" fmla="*/ 170840 w 172836"/>
                    <a:gd name="csY5" fmla="*/ 40766 h 93720"/>
                    <a:gd name="csX6" fmla="*/ 157812 w 172836"/>
                    <a:gd name="csY6" fmla="*/ 22484 h 93720"/>
                    <a:gd name="csX7" fmla="*/ 105803 w 172836"/>
                    <a:gd name="csY7" fmla="*/ 841 h 9372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172836" h="93720">
                      <a:moveTo>
                        <a:pt x="65772" y="0"/>
                      </a:moveTo>
                      <a:lnTo>
                        <a:pt x="11557" y="23220"/>
                      </a:lnTo>
                      <a:cubicBezTo>
                        <a:pt x="11557" y="23220"/>
                        <a:pt x="3047" y="27528"/>
                        <a:pt x="1996" y="39295"/>
                      </a:cubicBezTo>
                      <a:cubicBezTo>
                        <a:pt x="946" y="51063"/>
                        <a:pt x="0" y="93720"/>
                        <a:pt x="0" y="93720"/>
                      </a:cubicBezTo>
                      <a:lnTo>
                        <a:pt x="172836" y="93720"/>
                      </a:lnTo>
                      <a:lnTo>
                        <a:pt x="170840" y="40766"/>
                      </a:lnTo>
                      <a:cubicBezTo>
                        <a:pt x="170840" y="40766"/>
                        <a:pt x="171891" y="28473"/>
                        <a:pt x="157812" y="22484"/>
                      </a:cubicBezTo>
                      <a:cubicBezTo>
                        <a:pt x="143733" y="16496"/>
                        <a:pt x="105803" y="841"/>
                        <a:pt x="105803" y="841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92" name="Freeform: Shape 91">
                  <a:extLst>
                    <a:ext uri="{FF2B5EF4-FFF2-40B4-BE49-F238E27FC236}">
                      <a16:creationId xmlns:a16="http://schemas.microsoft.com/office/drawing/2014/main" id="{AE3BCEF4-6E58-B1C3-E380-B1C55EA7467C}"/>
                    </a:ext>
                  </a:extLst>
                </p:cNvPr>
                <p:cNvSpPr/>
                <p:nvPr/>
              </p:nvSpPr>
              <p:spPr>
                <a:xfrm>
                  <a:off x="2645187" y="2772383"/>
                  <a:ext cx="21959" cy="19962"/>
                </a:xfrm>
                <a:custGeom>
                  <a:avLst/>
                  <a:gdLst>
                    <a:gd name="csX0" fmla="*/ 11032 w 21959"/>
                    <a:gd name="csY0" fmla="*/ 19963 h 19962"/>
                    <a:gd name="csX1" fmla="*/ 21959 w 21959"/>
                    <a:gd name="csY1" fmla="*/ 12398 h 19962"/>
                    <a:gd name="csX2" fmla="*/ 20278 w 21959"/>
                    <a:gd name="csY2" fmla="*/ 0 h 19962"/>
                    <a:gd name="csX3" fmla="*/ 1786 w 21959"/>
                    <a:gd name="csY3" fmla="*/ 0 h 19962"/>
                    <a:gd name="csX4" fmla="*/ 0 w 21959"/>
                    <a:gd name="csY4" fmla="*/ 12398 h 19962"/>
                    <a:gd name="csX5" fmla="*/ 11032 w 21959"/>
                    <a:gd name="csY5" fmla="*/ 19963 h 1996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21959" h="19962">
                      <a:moveTo>
                        <a:pt x="11032" y="19963"/>
                      </a:moveTo>
                      <a:lnTo>
                        <a:pt x="21959" y="12398"/>
                      </a:lnTo>
                      <a:lnTo>
                        <a:pt x="20278" y="0"/>
                      </a:lnTo>
                      <a:lnTo>
                        <a:pt x="1786" y="0"/>
                      </a:lnTo>
                      <a:lnTo>
                        <a:pt x="0" y="12398"/>
                      </a:lnTo>
                      <a:lnTo>
                        <a:pt x="11032" y="19963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93" name="Freeform: Shape 92">
                  <a:extLst>
                    <a:ext uri="{FF2B5EF4-FFF2-40B4-BE49-F238E27FC236}">
                      <a16:creationId xmlns:a16="http://schemas.microsoft.com/office/drawing/2014/main" id="{3F66322D-299C-8644-4779-EBE56D0452E5}"/>
                    </a:ext>
                  </a:extLst>
                </p:cNvPr>
                <p:cNvSpPr/>
                <p:nvPr/>
              </p:nvSpPr>
              <p:spPr>
                <a:xfrm>
                  <a:off x="2663258" y="2787407"/>
                  <a:ext cx="3992" cy="65772"/>
                </a:xfrm>
                <a:custGeom>
                  <a:avLst/>
                  <a:gdLst>
                    <a:gd name="csX0" fmla="*/ 3993 w 3992"/>
                    <a:gd name="csY0" fmla="*/ 65772 h 65772"/>
                    <a:gd name="csX1" fmla="*/ 0 w 3992"/>
                    <a:gd name="csY1" fmla="*/ 0 h 6577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3992" h="65772">
                      <a:moveTo>
                        <a:pt x="3993" y="65772"/>
                      </a:moveTo>
                      <a:lnTo>
                        <a:pt x="0" y="0"/>
                      </a:lnTo>
                    </a:path>
                  </a:pathLst>
                </a:custGeom>
                <a:ln w="12700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94" name="Freeform: Shape 93">
                  <a:extLst>
                    <a:ext uri="{FF2B5EF4-FFF2-40B4-BE49-F238E27FC236}">
                      <a16:creationId xmlns:a16="http://schemas.microsoft.com/office/drawing/2014/main" id="{64EE6F32-73DB-A3AD-D0A2-3A290DBFC783}"/>
                    </a:ext>
                  </a:extLst>
                </p:cNvPr>
                <p:cNvSpPr/>
                <p:nvPr/>
              </p:nvSpPr>
              <p:spPr>
                <a:xfrm>
                  <a:off x="2645187" y="2787407"/>
                  <a:ext cx="3887" cy="65772"/>
                </a:xfrm>
                <a:custGeom>
                  <a:avLst/>
                  <a:gdLst>
                    <a:gd name="csX0" fmla="*/ 3888 w 3887"/>
                    <a:gd name="csY0" fmla="*/ 0 h 65772"/>
                    <a:gd name="csX1" fmla="*/ 0 w 3887"/>
                    <a:gd name="csY1" fmla="*/ 65772 h 6577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3887" h="65772">
                      <a:moveTo>
                        <a:pt x="3888" y="0"/>
                      </a:moveTo>
                      <a:lnTo>
                        <a:pt x="0" y="65772"/>
                      </a:lnTo>
                    </a:path>
                  </a:pathLst>
                </a:custGeom>
                <a:ln w="12700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</p:grpSp>
        </p:grpSp>
        <p:grpSp>
          <p:nvGrpSpPr>
            <p:cNvPr id="78" name="Graphic 6">
              <a:extLst>
                <a:ext uri="{FF2B5EF4-FFF2-40B4-BE49-F238E27FC236}">
                  <a16:creationId xmlns:a16="http://schemas.microsoft.com/office/drawing/2014/main" id="{F3CADD33-BCAB-1257-EC62-F045341021D2}"/>
                </a:ext>
              </a:extLst>
            </p:cNvPr>
            <p:cNvGrpSpPr/>
            <p:nvPr/>
          </p:nvGrpSpPr>
          <p:grpSpPr>
            <a:xfrm>
              <a:off x="2409835" y="2915484"/>
              <a:ext cx="95716" cy="92459"/>
              <a:chOff x="2409835" y="2915484"/>
              <a:chExt cx="95716" cy="92459"/>
            </a:xfrm>
            <a:noFill/>
          </p:grpSpPr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E06D9AD3-8DF7-E587-DB67-666F778FECBF}"/>
                  </a:ext>
                </a:extLst>
              </p:cNvPr>
              <p:cNvSpPr/>
              <p:nvPr/>
            </p:nvSpPr>
            <p:spPr>
              <a:xfrm>
                <a:off x="2409835" y="2954780"/>
                <a:ext cx="53164" cy="53164"/>
              </a:xfrm>
              <a:custGeom>
                <a:avLst/>
                <a:gdLst>
                  <a:gd name="csX0" fmla="*/ 53164 w 53164"/>
                  <a:gd name="csY0" fmla="*/ 53164 h 53164"/>
                  <a:gd name="csX1" fmla="*/ 0 w 53164"/>
                  <a:gd name="csY1" fmla="*/ 53164 h 53164"/>
                  <a:gd name="csX2" fmla="*/ 0 w 53164"/>
                  <a:gd name="csY2" fmla="*/ 0 h 5316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53164" h="53164">
                    <a:moveTo>
                      <a:pt x="53164" y="53164"/>
                    </a:moveTo>
                    <a:lnTo>
                      <a:pt x="0" y="53164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chemeClr val="accent5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C42E8DDF-3BD5-817D-0B71-39E3741C4150}"/>
                  </a:ext>
                </a:extLst>
              </p:cNvPr>
              <p:cNvSpPr/>
              <p:nvPr/>
            </p:nvSpPr>
            <p:spPr>
              <a:xfrm>
                <a:off x="2413092" y="2915484"/>
                <a:ext cx="92459" cy="92459"/>
              </a:xfrm>
              <a:custGeom>
                <a:avLst/>
                <a:gdLst>
                  <a:gd name="csX0" fmla="*/ 0 w 92459"/>
                  <a:gd name="csY0" fmla="*/ 92459 h 92459"/>
                  <a:gd name="csX1" fmla="*/ 92460 w 92459"/>
                  <a:gd name="csY1" fmla="*/ 0 h 9245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92459" h="92459">
                    <a:moveTo>
                      <a:pt x="0" y="92459"/>
                    </a:moveTo>
                    <a:lnTo>
                      <a:pt x="92460" y="0"/>
                    </a:lnTo>
                  </a:path>
                </a:pathLst>
              </a:custGeom>
              <a:ln w="12700" cap="rnd">
                <a:solidFill>
                  <a:schemeClr val="accent5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</p:grpSp>
        <p:grpSp>
          <p:nvGrpSpPr>
            <p:cNvPr id="79" name="Graphic 6">
              <a:extLst>
                <a:ext uri="{FF2B5EF4-FFF2-40B4-BE49-F238E27FC236}">
                  <a16:creationId xmlns:a16="http://schemas.microsoft.com/office/drawing/2014/main" id="{6B22932C-7A78-DB65-350D-220DFCDD798B}"/>
                </a:ext>
              </a:extLst>
            </p:cNvPr>
            <p:cNvGrpSpPr/>
            <p:nvPr/>
          </p:nvGrpSpPr>
          <p:grpSpPr>
            <a:xfrm>
              <a:off x="2816762" y="2915484"/>
              <a:ext cx="95716" cy="92459"/>
              <a:chOff x="2816762" y="2915484"/>
              <a:chExt cx="95716" cy="92459"/>
            </a:xfrm>
            <a:noFill/>
          </p:grpSpPr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6A9C3476-9CB3-7AEB-F440-7A7737A8754E}"/>
                  </a:ext>
                </a:extLst>
              </p:cNvPr>
              <p:cNvSpPr/>
              <p:nvPr/>
            </p:nvSpPr>
            <p:spPr>
              <a:xfrm>
                <a:off x="2859315" y="2954780"/>
                <a:ext cx="53164" cy="53164"/>
              </a:xfrm>
              <a:custGeom>
                <a:avLst/>
                <a:gdLst>
                  <a:gd name="csX0" fmla="*/ 53164 w 53164"/>
                  <a:gd name="csY0" fmla="*/ 0 h 53164"/>
                  <a:gd name="csX1" fmla="*/ 53164 w 53164"/>
                  <a:gd name="csY1" fmla="*/ 53164 h 53164"/>
                  <a:gd name="csX2" fmla="*/ 0 w 53164"/>
                  <a:gd name="csY2" fmla="*/ 53164 h 5316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53164" h="53164">
                    <a:moveTo>
                      <a:pt x="53164" y="0"/>
                    </a:moveTo>
                    <a:lnTo>
                      <a:pt x="53164" y="53164"/>
                    </a:lnTo>
                    <a:lnTo>
                      <a:pt x="0" y="53164"/>
                    </a:lnTo>
                  </a:path>
                </a:pathLst>
              </a:custGeom>
              <a:noFill/>
              <a:ln w="12700" cap="rnd">
                <a:solidFill>
                  <a:schemeClr val="accent5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A2194890-69E4-4271-270F-44C8B0D77DE4}"/>
                  </a:ext>
                </a:extLst>
              </p:cNvPr>
              <p:cNvSpPr/>
              <p:nvPr/>
            </p:nvSpPr>
            <p:spPr>
              <a:xfrm>
                <a:off x="2816762" y="2915484"/>
                <a:ext cx="92459" cy="92459"/>
              </a:xfrm>
              <a:custGeom>
                <a:avLst/>
                <a:gdLst>
                  <a:gd name="csX0" fmla="*/ 92460 w 92459"/>
                  <a:gd name="csY0" fmla="*/ 92459 h 92459"/>
                  <a:gd name="csX1" fmla="*/ 0 w 92459"/>
                  <a:gd name="csY1" fmla="*/ 0 h 9245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92459" h="92459">
                    <a:moveTo>
                      <a:pt x="92460" y="92459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accent5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</p:grpSp>
        <p:grpSp>
          <p:nvGrpSpPr>
            <p:cNvPr id="80" name="Graphic 6">
              <a:extLst>
                <a:ext uri="{FF2B5EF4-FFF2-40B4-BE49-F238E27FC236}">
                  <a16:creationId xmlns:a16="http://schemas.microsoft.com/office/drawing/2014/main" id="{12F72461-2EDE-78F2-AB1D-B51F04299ECE}"/>
                </a:ext>
              </a:extLst>
            </p:cNvPr>
            <p:cNvGrpSpPr/>
            <p:nvPr/>
          </p:nvGrpSpPr>
          <p:grpSpPr>
            <a:xfrm>
              <a:off x="2617028" y="2913383"/>
              <a:ext cx="75228" cy="105592"/>
              <a:chOff x="2617028" y="2913383"/>
              <a:chExt cx="75228" cy="105592"/>
            </a:xfrm>
            <a:noFill/>
          </p:grpSpPr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21A957D0-BE45-8D1F-C8AC-71507384653A}"/>
                  </a:ext>
                </a:extLst>
              </p:cNvPr>
              <p:cNvSpPr/>
              <p:nvPr/>
            </p:nvSpPr>
            <p:spPr>
              <a:xfrm>
                <a:off x="2617028" y="2981362"/>
                <a:ext cx="75228" cy="37614"/>
              </a:xfrm>
              <a:custGeom>
                <a:avLst/>
                <a:gdLst>
                  <a:gd name="csX0" fmla="*/ 75229 w 75228"/>
                  <a:gd name="csY0" fmla="*/ 0 h 37614"/>
                  <a:gd name="csX1" fmla="*/ 37614 w 75228"/>
                  <a:gd name="csY1" fmla="*/ 37614 h 37614"/>
                  <a:gd name="csX2" fmla="*/ 0 w 75228"/>
                  <a:gd name="csY2" fmla="*/ 0 h 3761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75228" h="37614">
                    <a:moveTo>
                      <a:pt x="75229" y="0"/>
                    </a:moveTo>
                    <a:lnTo>
                      <a:pt x="37614" y="37614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chemeClr val="accent5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DF5A3459-455C-7079-74DF-7BF6573A4104}"/>
                  </a:ext>
                </a:extLst>
              </p:cNvPr>
              <p:cNvSpPr/>
              <p:nvPr/>
            </p:nvSpPr>
            <p:spPr>
              <a:xfrm>
                <a:off x="2654853" y="2913383"/>
                <a:ext cx="10506" cy="94560"/>
              </a:xfrm>
              <a:custGeom>
                <a:avLst/>
                <a:gdLst>
                  <a:gd name="csX0" fmla="*/ 0 w 10506"/>
                  <a:gd name="csY0" fmla="*/ 94561 h 94560"/>
                  <a:gd name="csX1" fmla="*/ 0 w 10506"/>
                  <a:gd name="csY1" fmla="*/ 0 h 9456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10506" h="94560">
                    <a:moveTo>
                      <a:pt x="0" y="94561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accent5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</p:grpSp>
      </p:grpSp>
      <p:pic>
        <p:nvPicPr>
          <p:cNvPr id="101" name="Graphic 100">
            <a:extLst>
              <a:ext uri="{FF2B5EF4-FFF2-40B4-BE49-F238E27FC236}">
                <a16:creationId xmlns:a16="http://schemas.microsoft.com/office/drawing/2014/main" id="{74E3E9A7-8878-C14F-8D43-61D6A51DC9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38160" y="4079029"/>
            <a:ext cx="447675" cy="419100"/>
          </a:xfrm>
          <a:prstGeom prst="rect">
            <a:avLst/>
          </a:prstGeom>
        </p:spPr>
      </p:pic>
      <p:grpSp>
        <p:nvGrpSpPr>
          <p:cNvPr id="102" name="Group 101">
            <a:extLst>
              <a:ext uri="{FF2B5EF4-FFF2-40B4-BE49-F238E27FC236}">
                <a16:creationId xmlns:a16="http://schemas.microsoft.com/office/drawing/2014/main" id="{A36F6BE7-4CA0-851C-32A4-F673916B3B0D}"/>
              </a:ext>
            </a:extLst>
          </p:cNvPr>
          <p:cNvGrpSpPr/>
          <p:nvPr/>
        </p:nvGrpSpPr>
        <p:grpSpPr>
          <a:xfrm>
            <a:off x="2447971" y="5569850"/>
            <a:ext cx="425291" cy="366045"/>
            <a:chOff x="2447971" y="5569850"/>
            <a:chExt cx="425291" cy="366045"/>
          </a:xfrm>
        </p:grpSpPr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083D25BF-75E7-3F83-937A-ADDB388A44D3}"/>
                </a:ext>
              </a:extLst>
            </p:cNvPr>
            <p:cNvSpPr/>
            <p:nvPr/>
          </p:nvSpPr>
          <p:spPr>
            <a:xfrm>
              <a:off x="2450828" y="5822834"/>
              <a:ext cx="420243" cy="58769"/>
            </a:xfrm>
            <a:custGeom>
              <a:avLst/>
              <a:gdLst>
                <a:gd name="csX0" fmla="*/ 33719 w 420243"/>
                <a:gd name="csY0" fmla="*/ 0 h 58769"/>
                <a:gd name="csX1" fmla="*/ 386525 w 420243"/>
                <a:gd name="csY1" fmla="*/ 0 h 58769"/>
                <a:gd name="csX2" fmla="*/ 420243 w 420243"/>
                <a:gd name="csY2" fmla="*/ 58769 h 58769"/>
                <a:gd name="csX3" fmla="*/ 0 w 420243"/>
                <a:gd name="csY3" fmla="*/ 58769 h 58769"/>
                <a:gd name="csX4" fmla="*/ 33719 w 420243"/>
                <a:gd name="csY4" fmla="*/ 0 h 5876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420243" h="58769">
                  <a:moveTo>
                    <a:pt x="33719" y="0"/>
                  </a:moveTo>
                  <a:lnTo>
                    <a:pt x="386525" y="0"/>
                  </a:lnTo>
                  <a:lnTo>
                    <a:pt x="420243" y="58769"/>
                  </a:lnTo>
                  <a:lnTo>
                    <a:pt x="0" y="58769"/>
                  </a:lnTo>
                  <a:lnTo>
                    <a:pt x="33719" y="0"/>
                  </a:lnTo>
                  <a:close/>
                </a:path>
              </a:pathLst>
            </a:custGeom>
            <a:noFill/>
            <a:ln w="12700" cap="rnd">
              <a:solidFill>
                <a:schemeClr val="accent5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grpSp>
          <p:nvGrpSpPr>
            <p:cNvPr id="104" name="Graphic 53">
              <a:extLst>
                <a:ext uri="{FF2B5EF4-FFF2-40B4-BE49-F238E27FC236}">
                  <a16:creationId xmlns:a16="http://schemas.microsoft.com/office/drawing/2014/main" id="{AD459A13-5897-B52D-D1ED-99CD414798BD}"/>
                </a:ext>
              </a:extLst>
            </p:cNvPr>
            <p:cNvGrpSpPr/>
            <p:nvPr/>
          </p:nvGrpSpPr>
          <p:grpSpPr>
            <a:xfrm>
              <a:off x="2447971" y="5584328"/>
              <a:ext cx="425291" cy="351567"/>
              <a:chOff x="2447971" y="5584328"/>
              <a:chExt cx="425291" cy="351567"/>
            </a:xfrm>
            <a:noFill/>
          </p:grpSpPr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54ECA4AD-F858-CA87-7DF1-418664003137}"/>
                  </a:ext>
                </a:extLst>
              </p:cNvPr>
              <p:cNvSpPr/>
              <p:nvPr/>
            </p:nvSpPr>
            <p:spPr>
              <a:xfrm>
                <a:off x="2639995" y="5854457"/>
                <a:ext cx="40766" cy="9525"/>
              </a:xfrm>
              <a:custGeom>
                <a:avLst/>
                <a:gdLst>
                  <a:gd name="csX0" fmla="*/ 40767 w 40766"/>
                  <a:gd name="csY0" fmla="*/ 0 h 9525"/>
                  <a:gd name="csX1" fmla="*/ 0 w 40766"/>
                  <a:gd name="csY1" fmla="*/ 0 h 952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40766" h="9525">
                    <a:moveTo>
                      <a:pt x="40767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accent5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4D9068F1-ACCC-F82C-AA4B-3502015EF2A6}"/>
                  </a:ext>
                </a:extLst>
              </p:cNvPr>
              <p:cNvSpPr/>
              <p:nvPr/>
            </p:nvSpPr>
            <p:spPr>
              <a:xfrm>
                <a:off x="2447971" y="5584328"/>
                <a:ext cx="425291" cy="351567"/>
              </a:xfrm>
              <a:custGeom>
                <a:avLst/>
                <a:gdLst>
                  <a:gd name="csX0" fmla="*/ 341376 w 425291"/>
                  <a:gd name="csY0" fmla="*/ 0 h 351567"/>
                  <a:gd name="csX1" fmla="*/ 72104 w 425291"/>
                  <a:gd name="csY1" fmla="*/ 0 h 351567"/>
                  <a:gd name="csX2" fmla="*/ 38195 w 425291"/>
                  <a:gd name="csY2" fmla="*/ 33909 h 351567"/>
                  <a:gd name="csX3" fmla="*/ 38195 w 425291"/>
                  <a:gd name="csY3" fmla="*/ 230029 h 351567"/>
                  <a:gd name="csX4" fmla="*/ 572 w 425291"/>
                  <a:gd name="csY4" fmla="*/ 300895 h 351567"/>
                  <a:gd name="csX5" fmla="*/ 572 w 425291"/>
                  <a:gd name="csY5" fmla="*/ 300990 h 351567"/>
                  <a:gd name="csX6" fmla="*/ 286 w 425291"/>
                  <a:gd name="csY6" fmla="*/ 301657 h 351567"/>
                  <a:gd name="csX7" fmla="*/ 286 w 425291"/>
                  <a:gd name="csY7" fmla="*/ 301847 h 351567"/>
                  <a:gd name="csX8" fmla="*/ 95 w 425291"/>
                  <a:gd name="csY8" fmla="*/ 302419 h 351567"/>
                  <a:gd name="csX9" fmla="*/ 95 w 425291"/>
                  <a:gd name="csY9" fmla="*/ 302609 h 351567"/>
                  <a:gd name="csX10" fmla="*/ 0 w 425291"/>
                  <a:gd name="csY10" fmla="*/ 303371 h 351567"/>
                  <a:gd name="csX11" fmla="*/ 0 w 425291"/>
                  <a:gd name="csY11" fmla="*/ 304038 h 351567"/>
                  <a:gd name="csX12" fmla="*/ 0 w 425291"/>
                  <a:gd name="csY12" fmla="*/ 317659 h 351567"/>
                  <a:gd name="csX13" fmla="*/ 33909 w 425291"/>
                  <a:gd name="csY13" fmla="*/ 351568 h 351567"/>
                  <a:gd name="csX14" fmla="*/ 391382 w 425291"/>
                  <a:gd name="csY14" fmla="*/ 351568 h 351567"/>
                  <a:gd name="csX15" fmla="*/ 425291 w 425291"/>
                  <a:gd name="csY15" fmla="*/ 317659 h 351567"/>
                  <a:gd name="csX16" fmla="*/ 425291 w 425291"/>
                  <a:gd name="csY16" fmla="*/ 304038 h 351567"/>
                  <a:gd name="csX17" fmla="*/ 425291 w 425291"/>
                  <a:gd name="csY17" fmla="*/ 303371 h 351567"/>
                  <a:gd name="csX18" fmla="*/ 425291 w 425291"/>
                  <a:gd name="csY18" fmla="*/ 303371 h 351567"/>
                  <a:gd name="csX19" fmla="*/ 425196 w 425291"/>
                  <a:gd name="csY19" fmla="*/ 302609 h 351567"/>
                  <a:gd name="csX20" fmla="*/ 425196 w 425291"/>
                  <a:gd name="csY20" fmla="*/ 302419 h 351567"/>
                  <a:gd name="csX21" fmla="*/ 425006 w 425291"/>
                  <a:gd name="csY21" fmla="*/ 301847 h 351567"/>
                  <a:gd name="csX22" fmla="*/ 425006 w 425291"/>
                  <a:gd name="csY22" fmla="*/ 301657 h 351567"/>
                  <a:gd name="csX23" fmla="*/ 424720 w 425291"/>
                  <a:gd name="csY23" fmla="*/ 300990 h 351567"/>
                  <a:gd name="csX24" fmla="*/ 424720 w 425291"/>
                  <a:gd name="csY24" fmla="*/ 300990 h 351567"/>
                  <a:gd name="csX25" fmla="*/ 387096 w 425291"/>
                  <a:gd name="csY25" fmla="*/ 230124 h 351567"/>
                  <a:gd name="csX26" fmla="*/ 387096 w 425291"/>
                  <a:gd name="csY26" fmla="*/ 45149 h 35156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</a:cxnLst>
                <a:rect l="l" t="t" r="r" b="b"/>
                <a:pathLst>
                  <a:path w="425291" h="351567">
                    <a:moveTo>
                      <a:pt x="341376" y="0"/>
                    </a:moveTo>
                    <a:lnTo>
                      <a:pt x="72104" y="0"/>
                    </a:lnTo>
                    <a:cubicBezTo>
                      <a:pt x="53435" y="0"/>
                      <a:pt x="38195" y="15240"/>
                      <a:pt x="38195" y="33909"/>
                    </a:cubicBezTo>
                    <a:lnTo>
                      <a:pt x="38195" y="230029"/>
                    </a:lnTo>
                    <a:lnTo>
                      <a:pt x="572" y="300895"/>
                    </a:lnTo>
                    <a:cubicBezTo>
                      <a:pt x="572" y="300895"/>
                      <a:pt x="572" y="300990"/>
                      <a:pt x="572" y="300990"/>
                    </a:cubicBezTo>
                    <a:cubicBezTo>
                      <a:pt x="476" y="301181"/>
                      <a:pt x="381" y="301466"/>
                      <a:pt x="286" y="301657"/>
                    </a:cubicBezTo>
                    <a:cubicBezTo>
                      <a:pt x="286" y="301657"/>
                      <a:pt x="286" y="301752"/>
                      <a:pt x="286" y="301847"/>
                    </a:cubicBezTo>
                    <a:cubicBezTo>
                      <a:pt x="286" y="302038"/>
                      <a:pt x="191" y="302228"/>
                      <a:pt x="95" y="302419"/>
                    </a:cubicBezTo>
                    <a:cubicBezTo>
                      <a:pt x="95" y="302419"/>
                      <a:pt x="95" y="302514"/>
                      <a:pt x="95" y="302609"/>
                    </a:cubicBezTo>
                    <a:cubicBezTo>
                      <a:pt x="95" y="302895"/>
                      <a:pt x="0" y="303181"/>
                      <a:pt x="0" y="303371"/>
                    </a:cubicBezTo>
                    <a:cubicBezTo>
                      <a:pt x="0" y="303562"/>
                      <a:pt x="0" y="303848"/>
                      <a:pt x="0" y="304038"/>
                    </a:cubicBezTo>
                    <a:lnTo>
                      <a:pt x="0" y="317659"/>
                    </a:lnTo>
                    <a:cubicBezTo>
                      <a:pt x="0" y="336328"/>
                      <a:pt x="15240" y="351568"/>
                      <a:pt x="33909" y="351568"/>
                    </a:cubicBezTo>
                    <a:lnTo>
                      <a:pt x="391382" y="351568"/>
                    </a:lnTo>
                    <a:cubicBezTo>
                      <a:pt x="410051" y="351568"/>
                      <a:pt x="425291" y="336328"/>
                      <a:pt x="425291" y="317659"/>
                    </a:cubicBezTo>
                    <a:lnTo>
                      <a:pt x="425291" y="304038"/>
                    </a:lnTo>
                    <a:cubicBezTo>
                      <a:pt x="425291" y="304038"/>
                      <a:pt x="425291" y="303562"/>
                      <a:pt x="425291" y="303371"/>
                    </a:cubicBezTo>
                    <a:lnTo>
                      <a:pt x="425291" y="303371"/>
                    </a:lnTo>
                    <a:cubicBezTo>
                      <a:pt x="425291" y="303371"/>
                      <a:pt x="425291" y="302800"/>
                      <a:pt x="425196" y="302609"/>
                    </a:cubicBezTo>
                    <a:cubicBezTo>
                      <a:pt x="425196" y="302609"/>
                      <a:pt x="425196" y="302514"/>
                      <a:pt x="425196" y="302419"/>
                    </a:cubicBezTo>
                    <a:cubicBezTo>
                      <a:pt x="425196" y="302228"/>
                      <a:pt x="425101" y="302038"/>
                      <a:pt x="425006" y="301847"/>
                    </a:cubicBezTo>
                    <a:cubicBezTo>
                      <a:pt x="425006" y="301847"/>
                      <a:pt x="425006" y="301752"/>
                      <a:pt x="425006" y="301657"/>
                    </a:cubicBezTo>
                    <a:cubicBezTo>
                      <a:pt x="425006" y="301466"/>
                      <a:pt x="424815" y="301181"/>
                      <a:pt x="424720" y="300990"/>
                    </a:cubicBezTo>
                    <a:cubicBezTo>
                      <a:pt x="424720" y="300990"/>
                      <a:pt x="424720" y="300990"/>
                      <a:pt x="424720" y="300990"/>
                    </a:cubicBezTo>
                    <a:cubicBezTo>
                      <a:pt x="424720" y="300990"/>
                      <a:pt x="387096" y="230124"/>
                      <a:pt x="387096" y="230124"/>
                    </a:cubicBezTo>
                    <a:lnTo>
                      <a:pt x="387096" y="45149"/>
                    </a:lnTo>
                  </a:path>
                </a:pathLst>
              </a:custGeom>
              <a:noFill/>
              <a:ln w="12700" cap="flat">
                <a:solidFill>
                  <a:schemeClr val="accent5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</p:grp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69B5498A-80B2-91AD-D0E1-721C27E0AF2D}"/>
                </a:ext>
              </a:extLst>
            </p:cNvPr>
            <p:cNvSpPr/>
            <p:nvPr/>
          </p:nvSpPr>
          <p:spPr>
            <a:xfrm>
              <a:off x="2515312" y="5573565"/>
              <a:ext cx="321087" cy="220122"/>
            </a:xfrm>
            <a:custGeom>
              <a:avLst/>
              <a:gdLst>
                <a:gd name="csX0" fmla="*/ 0 w 321087"/>
                <a:gd name="csY0" fmla="*/ 220123 h 220122"/>
                <a:gd name="csX1" fmla="*/ 107061 w 321087"/>
                <a:gd name="csY1" fmla="*/ 114872 h 220122"/>
                <a:gd name="csX2" fmla="*/ 154400 w 321087"/>
                <a:gd name="csY2" fmla="*/ 162211 h 220122"/>
                <a:gd name="csX3" fmla="*/ 321088 w 321087"/>
                <a:gd name="csY3" fmla="*/ 0 h 22012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</a:cxnLst>
              <a:rect l="l" t="t" r="r" b="b"/>
              <a:pathLst>
                <a:path w="321087" h="220122">
                  <a:moveTo>
                    <a:pt x="0" y="220123"/>
                  </a:moveTo>
                  <a:lnTo>
                    <a:pt x="107061" y="114872"/>
                  </a:lnTo>
                  <a:lnTo>
                    <a:pt x="154400" y="162211"/>
                  </a:lnTo>
                  <a:lnTo>
                    <a:pt x="321088" y="0"/>
                  </a:lnTo>
                </a:path>
              </a:pathLst>
            </a:custGeom>
            <a:noFill/>
            <a:ln w="12700" cap="flat">
              <a:solidFill>
                <a:schemeClr val="accent5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9650533A-3AFA-7429-7E0A-4926872A11D8}"/>
                </a:ext>
              </a:extLst>
            </p:cNvPr>
            <p:cNvSpPr/>
            <p:nvPr/>
          </p:nvSpPr>
          <p:spPr>
            <a:xfrm>
              <a:off x="2795919" y="5569850"/>
              <a:ext cx="44100" cy="43338"/>
            </a:xfrm>
            <a:custGeom>
              <a:avLst/>
              <a:gdLst>
                <a:gd name="csX0" fmla="*/ 39148 w 44100"/>
                <a:gd name="csY0" fmla="*/ 43339 h 43338"/>
                <a:gd name="csX1" fmla="*/ 44101 w 44100"/>
                <a:gd name="csY1" fmla="*/ 0 h 43338"/>
                <a:gd name="csX2" fmla="*/ 0 w 44100"/>
                <a:gd name="csY2" fmla="*/ 4096 h 4333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44100" h="43338">
                  <a:moveTo>
                    <a:pt x="39148" y="43339"/>
                  </a:moveTo>
                  <a:lnTo>
                    <a:pt x="44101" y="0"/>
                  </a:lnTo>
                  <a:lnTo>
                    <a:pt x="0" y="4096"/>
                  </a:lnTo>
                </a:path>
              </a:pathLst>
            </a:custGeom>
            <a:noFill/>
            <a:ln w="12700" cap="flat">
              <a:solidFill>
                <a:schemeClr val="accent5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4E32A3CA-BB50-7191-343A-E9D23C84F5A6}"/>
                </a:ext>
              </a:extLst>
            </p:cNvPr>
            <p:cNvSpPr/>
            <p:nvPr/>
          </p:nvSpPr>
          <p:spPr>
            <a:xfrm>
              <a:off x="2734292" y="5760065"/>
              <a:ext cx="61626" cy="27051"/>
            </a:xfrm>
            <a:prstGeom prst="rect">
              <a:avLst/>
            </a:prstGeom>
            <a:noFill/>
            <a:ln w="12700" cap="flat">
              <a:solidFill>
                <a:schemeClr val="accent5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18D33FB7-A476-49D7-6FB5-3812C177DB9B}"/>
                </a:ext>
              </a:extLst>
            </p:cNvPr>
            <p:cNvSpPr/>
            <p:nvPr/>
          </p:nvSpPr>
          <p:spPr>
            <a:xfrm>
              <a:off x="2734292" y="5733014"/>
              <a:ext cx="61626" cy="27051"/>
            </a:xfrm>
            <a:prstGeom prst="rect">
              <a:avLst/>
            </a:prstGeom>
            <a:noFill/>
            <a:ln w="12700" cap="flat">
              <a:solidFill>
                <a:schemeClr val="accent5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D82B1B01-60F6-F825-3650-8CB7FFE9E02B}"/>
                </a:ext>
              </a:extLst>
            </p:cNvPr>
            <p:cNvSpPr/>
            <p:nvPr/>
          </p:nvSpPr>
          <p:spPr>
            <a:xfrm>
              <a:off x="2734292" y="5706058"/>
              <a:ext cx="61626" cy="27050"/>
            </a:xfrm>
            <a:prstGeom prst="rect">
              <a:avLst/>
            </a:prstGeom>
            <a:noFill/>
            <a:ln w="12700" cap="flat">
              <a:solidFill>
                <a:schemeClr val="accent5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</p:grpSp>
      <p:pic>
        <p:nvPicPr>
          <p:cNvPr id="112" name="Graphic 111">
            <a:extLst>
              <a:ext uri="{FF2B5EF4-FFF2-40B4-BE49-F238E27FC236}">
                <a16:creationId xmlns:a16="http://schemas.microsoft.com/office/drawing/2014/main" id="{6B813A8F-397D-80CB-2E0B-B153873D6A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3509" y="2594249"/>
            <a:ext cx="448204" cy="465118"/>
          </a:xfrm>
          <a:prstGeom prst="rect">
            <a:avLst/>
          </a:prstGeom>
        </p:spPr>
      </p:pic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D158132-C741-6057-CD4D-9873E9F825EC}"/>
              </a:ext>
            </a:extLst>
          </p:cNvPr>
          <p:cNvGrpSpPr/>
          <p:nvPr/>
        </p:nvGrpSpPr>
        <p:grpSpPr>
          <a:xfrm>
            <a:off x="5643359" y="4055248"/>
            <a:ext cx="432945" cy="462458"/>
            <a:chOff x="5643359" y="4055248"/>
            <a:chExt cx="432945" cy="462458"/>
          </a:xfrm>
        </p:grpSpPr>
        <p:grpSp>
          <p:nvGrpSpPr>
            <p:cNvPr id="114" name="Graphic 80">
              <a:extLst>
                <a:ext uri="{FF2B5EF4-FFF2-40B4-BE49-F238E27FC236}">
                  <a16:creationId xmlns:a16="http://schemas.microsoft.com/office/drawing/2014/main" id="{CB9BF3A9-605B-F9AD-DEEA-E29A51900497}"/>
                </a:ext>
              </a:extLst>
            </p:cNvPr>
            <p:cNvGrpSpPr/>
            <p:nvPr/>
          </p:nvGrpSpPr>
          <p:grpSpPr>
            <a:xfrm>
              <a:off x="5643359" y="4235339"/>
              <a:ext cx="432945" cy="282367"/>
              <a:chOff x="5643359" y="4235339"/>
              <a:chExt cx="432945" cy="282367"/>
            </a:xfrm>
            <a:noFill/>
          </p:grpSpPr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AA0DE5D2-7FE2-9B1A-D52E-A5B181ABCD52}"/>
                  </a:ext>
                </a:extLst>
              </p:cNvPr>
              <p:cNvSpPr/>
              <p:nvPr/>
            </p:nvSpPr>
            <p:spPr>
              <a:xfrm>
                <a:off x="5643359" y="4235339"/>
                <a:ext cx="188153" cy="161399"/>
              </a:xfrm>
              <a:custGeom>
                <a:avLst/>
                <a:gdLst>
                  <a:gd name="csX0" fmla="*/ 113191 w 188153"/>
                  <a:gd name="csY0" fmla="*/ 33618 h 161399"/>
                  <a:gd name="csX1" fmla="*/ 98999 w 188153"/>
                  <a:gd name="csY1" fmla="*/ 4662 h 161399"/>
                  <a:gd name="csX2" fmla="*/ 76615 w 188153"/>
                  <a:gd name="csY2" fmla="*/ 9711 h 161399"/>
                  <a:gd name="csX3" fmla="*/ 12703 w 188153"/>
                  <a:gd name="csY3" fmla="*/ 122868 h 161399"/>
                  <a:gd name="csX4" fmla="*/ 6416 w 188153"/>
                  <a:gd name="csY4" fmla="*/ 132488 h 161399"/>
                  <a:gd name="csX5" fmla="*/ 9559 w 188153"/>
                  <a:gd name="csY5" fmla="*/ 158015 h 161399"/>
                  <a:gd name="csX6" fmla="*/ 39849 w 188153"/>
                  <a:gd name="csY6" fmla="*/ 151633 h 161399"/>
                  <a:gd name="csX7" fmla="*/ 98618 w 188153"/>
                  <a:gd name="csY7" fmla="*/ 51049 h 161399"/>
                  <a:gd name="csX8" fmla="*/ 129193 w 188153"/>
                  <a:gd name="csY8" fmla="*/ 33523 h 161399"/>
                  <a:gd name="csX9" fmla="*/ 170627 w 188153"/>
                  <a:gd name="csY9" fmla="*/ 33523 h 161399"/>
                  <a:gd name="csX10" fmla="*/ 188153 w 188153"/>
                  <a:gd name="csY10" fmla="*/ 38381 h 16139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188153" h="161399">
                    <a:moveTo>
                      <a:pt x="113191" y="33618"/>
                    </a:moveTo>
                    <a:cubicBezTo>
                      <a:pt x="111953" y="22284"/>
                      <a:pt x="110429" y="11616"/>
                      <a:pt x="98999" y="4662"/>
                    </a:cubicBezTo>
                    <a:cubicBezTo>
                      <a:pt x="87664" y="-2100"/>
                      <a:pt x="83569" y="-2386"/>
                      <a:pt x="76615" y="9711"/>
                    </a:cubicBezTo>
                    <a:cubicBezTo>
                      <a:pt x="55089" y="47334"/>
                      <a:pt x="34039" y="85149"/>
                      <a:pt x="12703" y="122868"/>
                    </a:cubicBezTo>
                    <a:cubicBezTo>
                      <a:pt x="10798" y="126201"/>
                      <a:pt x="8416" y="129249"/>
                      <a:pt x="6416" y="132488"/>
                    </a:cubicBezTo>
                    <a:cubicBezTo>
                      <a:pt x="-2823" y="147537"/>
                      <a:pt x="-2347" y="151062"/>
                      <a:pt x="9559" y="158015"/>
                    </a:cubicBezTo>
                    <a:cubicBezTo>
                      <a:pt x="20513" y="164301"/>
                      <a:pt x="33943" y="161634"/>
                      <a:pt x="39849" y="151633"/>
                    </a:cubicBezTo>
                    <a:cubicBezTo>
                      <a:pt x="59566" y="118200"/>
                      <a:pt x="79663" y="84958"/>
                      <a:pt x="98618" y="51049"/>
                    </a:cubicBezTo>
                    <a:cubicBezTo>
                      <a:pt x="105762" y="38381"/>
                      <a:pt x="114811" y="32761"/>
                      <a:pt x="129193" y="33523"/>
                    </a:cubicBezTo>
                    <a:cubicBezTo>
                      <a:pt x="143005" y="34190"/>
                      <a:pt x="156816" y="33809"/>
                      <a:pt x="170627" y="33523"/>
                    </a:cubicBezTo>
                    <a:cubicBezTo>
                      <a:pt x="177009" y="33523"/>
                      <a:pt x="183200" y="33618"/>
                      <a:pt x="188153" y="38381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C7530501-AB83-3148-A6DF-22DAA4750E6F}"/>
                  </a:ext>
                </a:extLst>
              </p:cNvPr>
              <p:cNvSpPr/>
              <p:nvPr/>
            </p:nvSpPr>
            <p:spPr>
              <a:xfrm>
                <a:off x="5808755" y="4258765"/>
                <a:ext cx="267549" cy="174402"/>
              </a:xfrm>
              <a:custGeom>
                <a:avLst/>
                <a:gdLst>
                  <a:gd name="csX0" fmla="*/ 166299 w 267549"/>
                  <a:gd name="csY0" fmla="*/ 24575 h 174402"/>
                  <a:gd name="csX1" fmla="*/ 219924 w 267549"/>
                  <a:gd name="csY1" fmla="*/ 128492 h 174402"/>
                  <a:gd name="csX2" fmla="*/ 247547 w 267549"/>
                  <a:gd name="csY2" fmla="*/ 140399 h 174402"/>
                  <a:gd name="csX3" fmla="*/ 267549 w 267549"/>
                  <a:gd name="csY3" fmla="*/ 128968 h 174402"/>
                  <a:gd name="csX4" fmla="*/ 197255 w 267549"/>
                  <a:gd name="csY4" fmla="*/ 0 h 174402"/>
                  <a:gd name="csX5" fmla="*/ 171347 w 267549"/>
                  <a:gd name="csY5" fmla="*/ 16764 h 174402"/>
                  <a:gd name="csX6" fmla="*/ 153630 w 267549"/>
                  <a:gd name="csY6" fmla="*/ 22955 h 174402"/>
                  <a:gd name="csX7" fmla="*/ 65905 w 267549"/>
                  <a:gd name="csY7" fmla="*/ 11049 h 174402"/>
                  <a:gd name="csX8" fmla="*/ 14470 w 267549"/>
                  <a:gd name="csY8" fmla="*/ 24193 h 174402"/>
                  <a:gd name="csX9" fmla="*/ 5612 w 267549"/>
                  <a:gd name="csY9" fmla="*/ 43815 h 174402"/>
                  <a:gd name="csX10" fmla="*/ 9327 w 267549"/>
                  <a:gd name="csY10" fmla="*/ 91154 h 174402"/>
                  <a:gd name="csX11" fmla="*/ 41997 w 267549"/>
                  <a:gd name="csY11" fmla="*/ 74009 h 174402"/>
                  <a:gd name="csX12" fmla="*/ 85336 w 267549"/>
                  <a:gd name="csY12" fmla="*/ 68770 h 174402"/>
                  <a:gd name="csX13" fmla="*/ 110387 w 267549"/>
                  <a:gd name="csY13" fmla="*/ 101251 h 174402"/>
                  <a:gd name="csX14" fmla="*/ 166299 w 267549"/>
                  <a:gd name="csY14" fmla="*/ 161734 h 174402"/>
                  <a:gd name="csX15" fmla="*/ 174395 w 267549"/>
                  <a:gd name="csY15" fmla="*/ 174403 h 17440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267549" h="174402">
                    <a:moveTo>
                      <a:pt x="166299" y="24575"/>
                    </a:moveTo>
                    <a:cubicBezTo>
                      <a:pt x="184396" y="59150"/>
                      <a:pt x="203732" y="93059"/>
                      <a:pt x="219924" y="128492"/>
                    </a:cubicBezTo>
                    <a:cubicBezTo>
                      <a:pt x="226782" y="143447"/>
                      <a:pt x="237069" y="142208"/>
                      <a:pt x="247547" y="140399"/>
                    </a:cubicBezTo>
                    <a:cubicBezTo>
                      <a:pt x="253929" y="139351"/>
                      <a:pt x="262406" y="138684"/>
                      <a:pt x="267549" y="128968"/>
                    </a:cubicBezTo>
                    <a:cubicBezTo>
                      <a:pt x="245356" y="86392"/>
                      <a:pt x="223163" y="41910"/>
                      <a:pt x="197255" y="0"/>
                    </a:cubicBezTo>
                    <a:cubicBezTo>
                      <a:pt x="184491" y="2095"/>
                      <a:pt x="177443" y="9239"/>
                      <a:pt x="171347" y="16764"/>
                    </a:cubicBezTo>
                    <a:cubicBezTo>
                      <a:pt x="166299" y="22860"/>
                      <a:pt x="160393" y="23908"/>
                      <a:pt x="153630" y="22955"/>
                    </a:cubicBezTo>
                    <a:cubicBezTo>
                      <a:pt x="124389" y="18859"/>
                      <a:pt x="95242" y="12478"/>
                      <a:pt x="65905" y="11049"/>
                    </a:cubicBezTo>
                    <a:cubicBezTo>
                      <a:pt x="48665" y="10192"/>
                      <a:pt x="29329" y="8191"/>
                      <a:pt x="14470" y="24193"/>
                    </a:cubicBezTo>
                    <a:cubicBezTo>
                      <a:pt x="8660" y="30480"/>
                      <a:pt x="6564" y="36957"/>
                      <a:pt x="5612" y="43815"/>
                    </a:cubicBezTo>
                    <a:cubicBezTo>
                      <a:pt x="3516" y="60103"/>
                      <a:pt x="-7818" y="82963"/>
                      <a:pt x="9327" y="91154"/>
                    </a:cubicBezTo>
                    <a:cubicBezTo>
                      <a:pt x="26472" y="99346"/>
                      <a:pt x="33996" y="83534"/>
                      <a:pt x="41997" y="74009"/>
                    </a:cubicBezTo>
                    <a:cubicBezTo>
                      <a:pt x="58666" y="54102"/>
                      <a:pt x="65334" y="54388"/>
                      <a:pt x="85336" y="68770"/>
                    </a:cubicBezTo>
                    <a:cubicBezTo>
                      <a:pt x="97433" y="77533"/>
                      <a:pt x="100671" y="91345"/>
                      <a:pt x="110387" y="101251"/>
                    </a:cubicBezTo>
                    <a:cubicBezTo>
                      <a:pt x="129532" y="120872"/>
                      <a:pt x="147915" y="141351"/>
                      <a:pt x="166299" y="161734"/>
                    </a:cubicBezTo>
                    <a:cubicBezTo>
                      <a:pt x="169632" y="165354"/>
                      <a:pt x="171728" y="170116"/>
                      <a:pt x="174395" y="174403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5DD20037-A34F-F519-01CF-C5E72E311C69}"/>
                  </a:ext>
                </a:extLst>
              </p:cNvPr>
              <p:cNvSpPr/>
              <p:nvPr/>
            </p:nvSpPr>
            <p:spPr>
              <a:xfrm>
                <a:off x="5773358" y="4409260"/>
                <a:ext cx="148904" cy="89766"/>
              </a:xfrm>
              <a:custGeom>
                <a:avLst/>
                <a:gdLst>
                  <a:gd name="csX0" fmla="*/ 88444 w 148904"/>
                  <a:gd name="csY0" fmla="*/ 0 h 89766"/>
                  <a:gd name="csX1" fmla="*/ 141117 w 148904"/>
                  <a:gd name="csY1" fmla="*/ 55721 h 89766"/>
                  <a:gd name="csX2" fmla="*/ 131402 w 148904"/>
                  <a:gd name="csY2" fmla="*/ 89059 h 89766"/>
                  <a:gd name="csX3" fmla="*/ 118543 w 148904"/>
                  <a:gd name="csY3" fmla="*/ 84773 h 89766"/>
                  <a:gd name="csX4" fmla="*/ 72442 w 148904"/>
                  <a:gd name="csY4" fmla="*/ 32004 h 89766"/>
                  <a:gd name="csX5" fmla="*/ 59774 w 148904"/>
                  <a:gd name="csY5" fmla="*/ 23908 h 89766"/>
                  <a:gd name="csX6" fmla="*/ 22626 w 148904"/>
                  <a:gd name="csY6" fmla="*/ 23622 h 89766"/>
                  <a:gd name="csX7" fmla="*/ 1195 w 148904"/>
                  <a:gd name="csY7" fmla="*/ 52864 h 89766"/>
                  <a:gd name="csX8" fmla="*/ 34247 w 148904"/>
                  <a:gd name="csY8" fmla="*/ 84582 h 8976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48904" h="89766">
                    <a:moveTo>
                      <a:pt x="88444" y="0"/>
                    </a:moveTo>
                    <a:cubicBezTo>
                      <a:pt x="105970" y="18574"/>
                      <a:pt x="123305" y="37433"/>
                      <a:pt x="141117" y="55721"/>
                    </a:cubicBezTo>
                    <a:cubicBezTo>
                      <a:pt x="154357" y="69342"/>
                      <a:pt x="150452" y="81153"/>
                      <a:pt x="131402" y="89059"/>
                    </a:cubicBezTo>
                    <a:cubicBezTo>
                      <a:pt x="127401" y="90678"/>
                      <a:pt x="122543" y="89630"/>
                      <a:pt x="118543" y="84773"/>
                    </a:cubicBezTo>
                    <a:cubicBezTo>
                      <a:pt x="103684" y="66770"/>
                      <a:pt x="88063" y="49340"/>
                      <a:pt x="72442" y="32004"/>
                    </a:cubicBezTo>
                    <a:cubicBezTo>
                      <a:pt x="69108" y="28289"/>
                      <a:pt x="66441" y="23146"/>
                      <a:pt x="59774" y="23908"/>
                    </a:cubicBezTo>
                    <a:cubicBezTo>
                      <a:pt x="47582" y="25241"/>
                      <a:pt x="36437" y="5810"/>
                      <a:pt x="22626" y="23622"/>
                    </a:cubicBezTo>
                    <a:cubicBezTo>
                      <a:pt x="15197" y="33242"/>
                      <a:pt x="5386" y="41624"/>
                      <a:pt x="1195" y="52864"/>
                    </a:cubicBezTo>
                    <a:cubicBezTo>
                      <a:pt x="-5092" y="69628"/>
                      <a:pt x="14530" y="87630"/>
                      <a:pt x="34247" y="84582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39816029-B0AE-DE40-CCDA-95F1BD992D0F}"/>
                  </a:ext>
                </a:extLst>
              </p:cNvPr>
              <p:cNvSpPr/>
              <p:nvPr/>
            </p:nvSpPr>
            <p:spPr>
              <a:xfrm>
                <a:off x="5892091" y="4385352"/>
                <a:ext cx="62131" cy="92583"/>
              </a:xfrm>
              <a:custGeom>
                <a:avLst/>
                <a:gdLst>
                  <a:gd name="csX0" fmla="*/ 0 w 62131"/>
                  <a:gd name="csY0" fmla="*/ 0 h 92583"/>
                  <a:gd name="csX1" fmla="*/ 52578 w 62131"/>
                  <a:gd name="csY1" fmla="*/ 57436 h 92583"/>
                  <a:gd name="csX2" fmla="*/ 60484 w 62131"/>
                  <a:gd name="csY2" fmla="*/ 76581 h 92583"/>
                  <a:gd name="csX3" fmla="*/ 39814 w 62131"/>
                  <a:gd name="csY3" fmla="*/ 91059 h 92583"/>
                  <a:gd name="csX4" fmla="*/ 31813 w 62131"/>
                  <a:gd name="csY4" fmla="*/ 92583 h 9258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62131" h="92583">
                    <a:moveTo>
                      <a:pt x="0" y="0"/>
                    </a:moveTo>
                    <a:cubicBezTo>
                      <a:pt x="17526" y="19145"/>
                      <a:pt x="35052" y="38291"/>
                      <a:pt x="52578" y="57436"/>
                    </a:cubicBezTo>
                    <a:cubicBezTo>
                      <a:pt x="57531" y="62865"/>
                      <a:pt x="65627" y="67151"/>
                      <a:pt x="60484" y="76581"/>
                    </a:cubicBezTo>
                    <a:cubicBezTo>
                      <a:pt x="56007" y="84677"/>
                      <a:pt x="50863" y="92012"/>
                      <a:pt x="39814" y="91059"/>
                    </a:cubicBezTo>
                    <a:cubicBezTo>
                      <a:pt x="37243" y="90869"/>
                      <a:pt x="34480" y="92012"/>
                      <a:pt x="31813" y="92583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28907333-17F9-31F6-2A53-0F666852EB05}"/>
                  </a:ext>
                </a:extLst>
              </p:cNvPr>
              <p:cNvSpPr/>
              <p:nvPr/>
            </p:nvSpPr>
            <p:spPr>
              <a:xfrm>
                <a:off x="5716688" y="4402761"/>
                <a:ext cx="40624" cy="55959"/>
              </a:xfrm>
              <a:custGeom>
                <a:avLst/>
                <a:gdLst>
                  <a:gd name="csX0" fmla="*/ 40625 w 40624"/>
                  <a:gd name="csY0" fmla="*/ 15262 h 55959"/>
                  <a:gd name="csX1" fmla="*/ 12812 w 40624"/>
                  <a:gd name="csY1" fmla="*/ 1832 h 55959"/>
                  <a:gd name="csX2" fmla="*/ 48 w 40624"/>
                  <a:gd name="csY2" fmla="*/ 33646 h 55959"/>
                  <a:gd name="csX3" fmla="*/ 20813 w 40624"/>
                  <a:gd name="csY3" fmla="*/ 55934 h 5595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40624" h="55959">
                    <a:moveTo>
                      <a:pt x="40625" y="15262"/>
                    </a:moveTo>
                    <a:cubicBezTo>
                      <a:pt x="32719" y="7928"/>
                      <a:pt x="27004" y="-4740"/>
                      <a:pt x="12812" y="1832"/>
                    </a:cubicBezTo>
                    <a:cubicBezTo>
                      <a:pt x="-1000" y="8214"/>
                      <a:pt x="-47" y="21263"/>
                      <a:pt x="48" y="33646"/>
                    </a:cubicBezTo>
                    <a:cubicBezTo>
                      <a:pt x="48" y="50219"/>
                      <a:pt x="5954" y="56410"/>
                      <a:pt x="20813" y="55934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472C4ECF-D08F-AD8B-1F5D-4C149B787936}"/>
                  </a:ext>
                </a:extLst>
              </p:cNvPr>
              <p:cNvSpPr/>
              <p:nvPr/>
            </p:nvSpPr>
            <p:spPr>
              <a:xfrm>
                <a:off x="5825130" y="4461934"/>
                <a:ext cx="68580" cy="54298"/>
              </a:xfrm>
              <a:custGeom>
                <a:avLst/>
                <a:gdLst>
                  <a:gd name="csX0" fmla="*/ 0 w 68580"/>
                  <a:gd name="csY0" fmla="*/ 0 h 54298"/>
                  <a:gd name="csX1" fmla="*/ 15716 w 68580"/>
                  <a:gd name="csY1" fmla="*/ 20765 h 54298"/>
                  <a:gd name="csX2" fmla="*/ 40195 w 68580"/>
                  <a:gd name="csY2" fmla="*/ 53340 h 54298"/>
                  <a:gd name="csX3" fmla="*/ 68580 w 68580"/>
                  <a:gd name="csY3" fmla="*/ 36671 h 5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68580" h="54298">
                    <a:moveTo>
                      <a:pt x="0" y="0"/>
                    </a:moveTo>
                    <a:cubicBezTo>
                      <a:pt x="8763" y="4286"/>
                      <a:pt x="14859" y="11335"/>
                      <a:pt x="15716" y="20765"/>
                    </a:cubicBezTo>
                    <a:cubicBezTo>
                      <a:pt x="17240" y="37147"/>
                      <a:pt x="27242" y="48577"/>
                      <a:pt x="40195" y="53340"/>
                    </a:cubicBezTo>
                    <a:cubicBezTo>
                      <a:pt x="52006" y="57721"/>
                      <a:pt x="61246" y="46196"/>
                      <a:pt x="68580" y="36671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A3F93823-198E-F8D2-8071-0E64B73455E2}"/>
                  </a:ext>
                </a:extLst>
              </p:cNvPr>
              <p:cNvSpPr/>
              <p:nvPr/>
            </p:nvSpPr>
            <p:spPr>
              <a:xfrm>
                <a:off x="5955813" y="4399735"/>
                <a:ext cx="76580" cy="55816"/>
              </a:xfrm>
              <a:custGeom>
                <a:avLst/>
                <a:gdLst>
                  <a:gd name="csX0" fmla="*/ 76581 w 76580"/>
                  <a:gd name="csY0" fmla="*/ 0 h 55816"/>
                  <a:gd name="csX1" fmla="*/ 46291 w 76580"/>
                  <a:gd name="csY1" fmla="*/ 23908 h 55816"/>
                  <a:gd name="csX2" fmla="*/ 18574 w 76580"/>
                  <a:gd name="csY2" fmla="*/ 45911 h 55816"/>
                  <a:gd name="csX3" fmla="*/ 0 w 76580"/>
                  <a:gd name="csY3" fmla="*/ 55817 h 5581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76580" h="55816">
                    <a:moveTo>
                      <a:pt x="76581" y="0"/>
                    </a:moveTo>
                    <a:cubicBezTo>
                      <a:pt x="68008" y="9906"/>
                      <a:pt x="57721" y="17621"/>
                      <a:pt x="46291" y="23908"/>
                    </a:cubicBezTo>
                    <a:cubicBezTo>
                      <a:pt x="35909" y="29718"/>
                      <a:pt x="25336" y="34481"/>
                      <a:pt x="18574" y="45911"/>
                    </a:cubicBezTo>
                    <a:cubicBezTo>
                      <a:pt x="15526" y="51054"/>
                      <a:pt x="6382" y="52578"/>
                      <a:pt x="0" y="55817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D39E3B04-C0F9-811A-5751-E12321531B7E}"/>
                  </a:ext>
                </a:extLst>
              </p:cNvPr>
              <p:cNvSpPr/>
              <p:nvPr/>
            </p:nvSpPr>
            <p:spPr>
              <a:xfrm>
                <a:off x="5808601" y="4436407"/>
                <a:ext cx="43580" cy="81300"/>
              </a:xfrm>
              <a:custGeom>
                <a:avLst/>
                <a:gdLst>
                  <a:gd name="csX0" fmla="*/ 19673 w 43580"/>
                  <a:gd name="csY0" fmla="*/ 0 h 81300"/>
                  <a:gd name="csX1" fmla="*/ 7100 w 43580"/>
                  <a:gd name="csY1" fmla="*/ 32004 h 81300"/>
                  <a:gd name="csX2" fmla="*/ 8529 w 43580"/>
                  <a:gd name="csY2" fmla="*/ 66961 h 81300"/>
                  <a:gd name="csX3" fmla="*/ 43581 w 43580"/>
                  <a:gd name="csY3" fmla="*/ 74962 h 8130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43580" h="81300">
                    <a:moveTo>
                      <a:pt x="19673" y="0"/>
                    </a:moveTo>
                    <a:cubicBezTo>
                      <a:pt x="19863" y="12382"/>
                      <a:pt x="16434" y="23050"/>
                      <a:pt x="7100" y="32004"/>
                    </a:cubicBezTo>
                    <a:cubicBezTo>
                      <a:pt x="-3092" y="41910"/>
                      <a:pt x="-2044" y="54293"/>
                      <a:pt x="8529" y="66961"/>
                    </a:cubicBezTo>
                    <a:cubicBezTo>
                      <a:pt x="22530" y="83725"/>
                      <a:pt x="27960" y="84963"/>
                      <a:pt x="43581" y="74962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7F176436-92EE-C5EB-7051-7D3F7350272A}"/>
                  </a:ext>
                </a:extLst>
              </p:cNvPr>
              <p:cNvSpPr/>
              <p:nvPr/>
            </p:nvSpPr>
            <p:spPr>
              <a:xfrm>
                <a:off x="5738721" y="4411993"/>
                <a:ext cx="52881" cy="71829"/>
              </a:xfrm>
              <a:custGeom>
                <a:avLst/>
                <a:gdLst>
                  <a:gd name="csX0" fmla="*/ 52882 w 52881"/>
                  <a:gd name="csY0" fmla="*/ 22032 h 71829"/>
                  <a:gd name="csX1" fmla="*/ 11543 w 52881"/>
                  <a:gd name="csY1" fmla="*/ 18127 h 71829"/>
                  <a:gd name="csX2" fmla="*/ 12686 w 52881"/>
                  <a:gd name="csY2" fmla="*/ 64514 h 71829"/>
                  <a:gd name="csX3" fmla="*/ 35356 w 52881"/>
                  <a:gd name="csY3" fmla="*/ 68228 h 7182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52881" h="71829">
                    <a:moveTo>
                      <a:pt x="52882" y="22032"/>
                    </a:moveTo>
                    <a:cubicBezTo>
                      <a:pt x="37642" y="-6162"/>
                      <a:pt x="29545" y="-7114"/>
                      <a:pt x="11543" y="18127"/>
                    </a:cubicBezTo>
                    <a:cubicBezTo>
                      <a:pt x="-4173" y="40130"/>
                      <a:pt x="-3887" y="44225"/>
                      <a:pt x="12686" y="64514"/>
                    </a:cubicBezTo>
                    <a:cubicBezTo>
                      <a:pt x="20306" y="73848"/>
                      <a:pt x="26783" y="73277"/>
                      <a:pt x="35356" y="68228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A3096E2E-B214-8866-E4A7-EF44A9B9CEC8}"/>
                  </a:ext>
                </a:extLst>
              </p:cNvPr>
              <p:cNvSpPr/>
              <p:nvPr/>
            </p:nvSpPr>
            <p:spPr>
              <a:xfrm>
                <a:off x="5909617" y="4339039"/>
                <a:ext cx="57435" cy="14874"/>
              </a:xfrm>
              <a:custGeom>
                <a:avLst/>
                <a:gdLst>
                  <a:gd name="csX0" fmla="*/ 0 w 57435"/>
                  <a:gd name="csY0" fmla="*/ 118 h 14874"/>
                  <a:gd name="csX1" fmla="*/ 17812 w 57435"/>
                  <a:gd name="csY1" fmla="*/ 6118 h 14874"/>
                  <a:gd name="csX2" fmla="*/ 57436 w 57435"/>
                  <a:gd name="csY2" fmla="*/ 4880 h 1487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57435" h="14874">
                    <a:moveTo>
                      <a:pt x="0" y="118"/>
                    </a:moveTo>
                    <a:cubicBezTo>
                      <a:pt x="6858" y="-549"/>
                      <a:pt x="11906" y="1642"/>
                      <a:pt x="17812" y="6118"/>
                    </a:cubicBezTo>
                    <a:cubicBezTo>
                      <a:pt x="34004" y="18406"/>
                      <a:pt x="38767" y="17548"/>
                      <a:pt x="57436" y="4880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1E3F43D9-BAB1-7C28-5156-0D14BB855E9D}"/>
                  </a:ext>
                </a:extLst>
              </p:cNvPr>
              <p:cNvSpPr/>
              <p:nvPr/>
            </p:nvSpPr>
            <p:spPr>
              <a:xfrm>
                <a:off x="5684827" y="4388591"/>
                <a:ext cx="33527" cy="22288"/>
              </a:xfrm>
              <a:custGeom>
                <a:avLst/>
                <a:gdLst>
                  <a:gd name="csX0" fmla="*/ 0 w 33527"/>
                  <a:gd name="csY0" fmla="*/ 0 h 22288"/>
                  <a:gd name="csX1" fmla="*/ 33528 w 33527"/>
                  <a:gd name="csY1" fmla="*/ 22289 h 2228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33527" h="22288">
                    <a:moveTo>
                      <a:pt x="0" y="0"/>
                    </a:moveTo>
                    <a:cubicBezTo>
                      <a:pt x="11811" y="6477"/>
                      <a:pt x="20860" y="17145"/>
                      <a:pt x="33528" y="22289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</p:grp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DFBC7D61-4D9A-CB5D-136E-4A5D58B41C84}"/>
                </a:ext>
              </a:extLst>
            </p:cNvPr>
            <p:cNvSpPr/>
            <p:nvPr/>
          </p:nvSpPr>
          <p:spPr>
            <a:xfrm>
              <a:off x="5813986" y="4162277"/>
              <a:ext cx="7905" cy="106584"/>
            </a:xfrm>
            <a:custGeom>
              <a:avLst/>
              <a:gdLst>
                <a:gd name="csX0" fmla="*/ 0 w 7905"/>
                <a:gd name="csY0" fmla="*/ 106585 h 106584"/>
                <a:gd name="csX1" fmla="*/ 7906 w 7905"/>
                <a:gd name="csY1" fmla="*/ 0 h 10658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7905" h="106584">
                  <a:moveTo>
                    <a:pt x="0" y="106585"/>
                  </a:moveTo>
                  <a:lnTo>
                    <a:pt x="7906" y="0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ABB961FB-D962-14B3-F6AD-FDC2217F7517}"/>
                </a:ext>
              </a:extLst>
            </p:cNvPr>
            <p:cNvSpPr/>
            <p:nvPr/>
          </p:nvSpPr>
          <p:spPr>
            <a:xfrm>
              <a:off x="5899235" y="4162277"/>
              <a:ext cx="6286" cy="110490"/>
            </a:xfrm>
            <a:custGeom>
              <a:avLst/>
              <a:gdLst>
                <a:gd name="csX0" fmla="*/ 6287 w 6286"/>
                <a:gd name="csY0" fmla="*/ 110490 h 110490"/>
                <a:gd name="csX1" fmla="*/ 0 w 6286"/>
                <a:gd name="csY1" fmla="*/ 0 h 11049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6286" h="110490">
                  <a:moveTo>
                    <a:pt x="6287" y="11049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A078AF15-5209-3224-447A-107CCCCB6A09}"/>
                </a:ext>
              </a:extLst>
            </p:cNvPr>
            <p:cNvSpPr/>
            <p:nvPr/>
          </p:nvSpPr>
          <p:spPr>
            <a:xfrm>
              <a:off x="5804175" y="4124653"/>
              <a:ext cx="111347" cy="37623"/>
            </a:xfrm>
            <a:prstGeom prst="rect">
              <a:avLst/>
            </a:prstGeom>
            <a:noFill/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E7E2C43-6FE7-0AF7-CE02-F96031429FE4}"/>
                </a:ext>
              </a:extLst>
            </p:cNvPr>
            <p:cNvSpPr/>
            <p:nvPr/>
          </p:nvSpPr>
          <p:spPr>
            <a:xfrm>
              <a:off x="5785748" y="4055248"/>
              <a:ext cx="147872" cy="69405"/>
            </a:xfrm>
            <a:custGeom>
              <a:avLst/>
              <a:gdLst>
                <a:gd name="csX0" fmla="*/ 129775 w 147872"/>
                <a:gd name="csY0" fmla="*/ 69406 h 69405"/>
                <a:gd name="csX1" fmla="*/ 147872 w 147872"/>
                <a:gd name="csY1" fmla="*/ 51308 h 69405"/>
                <a:gd name="csX2" fmla="*/ 147872 w 147872"/>
                <a:gd name="csY2" fmla="*/ 635 h 69405"/>
                <a:gd name="csX3" fmla="*/ 113487 w 147872"/>
                <a:gd name="csY3" fmla="*/ 635 h 69405"/>
                <a:gd name="csX4" fmla="*/ 113487 w 147872"/>
                <a:gd name="csY4" fmla="*/ 28353 h 69405"/>
                <a:gd name="csX5" fmla="*/ 92913 w 147872"/>
                <a:gd name="csY5" fmla="*/ 28353 h 69405"/>
                <a:gd name="csX6" fmla="*/ 92913 w 147872"/>
                <a:gd name="csY6" fmla="*/ 635 h 69405"/>
                <a:gd name="csX7" fmla="*/ 56051 w 147872"/>
                <a:gd name="csY7" fmla="*/ 635 h 69405"/>
                <a:gd name="csX8" fmla="*/ 56051 w 147872"/>
                <a:gd name="csY8" fmla="*/ 28353 h 69405"/>
                <a:gd name="csX9" fmla="*/ 32239 w 147872"/>
                <a:gd name="csY9" fmla="*/ 28353 h 69405"/>
                <a:gd name="csX10" fmla="*/ 32239 w 147872"/>
                <a:gd name="csY10" fmla="*/ 635 h 69405"/>
                <a:gd name="csX11" fmla="*/ 44 w 147872"/>
                <a:gd name="csY11" fmla="*/ 635 h 69405"/>
                <a:gd name="csX12" fmla="*/ 44 w 147872"/>
                <a:gd name="csY12" fmla="*/ 50260 h 69405"/>
                <a:gd name="csX13" fmla="*/ 18809 w 147872"/>
                <a:gd name="csY13" fmla="*/ 69025 h 6940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147872" h="69405">
                  <a:moveTo>
                    <a:pt x="129775" y="69406"/>
                  </a:moveTo>
                  <a:lnTo>
                    <a:pt x="147872" y="51308"/>
                  </a:lnTo>
                  <a:lnTo>
                    <a:pt x="147872" y="635"/>
                  </a:lnTo>
                  <a:lnTo>
                    <a:pt x="113487" y="635"/>
                  </a:lnTo>
                  <a:lnTo>
                    <a:pt x="113487" y="28353"/>
                  </a:lnTo>
                  <a:lnTo>
                    <a:pt x="92913" y="28353"/>
                  </a:lnTo>
                  <a:lnTo>
                    <a:pt x="92913" y="635"/>
                  </a:lnTo>
                  <a:lnTo>
                    <a:pt x="56051" y="635"/>
                  </a:lnTo>
                  <a:lnTo>
                    <a:pt x="56051" y="28353"/>
                  </a:lnTo>
                  <a:lnTo>
                    <a:pt x="32239" y="28353"/>
                  </a:lnTo>
                  <a:lnTo>
                    <a:pt x="32239" y="635"/>
                  </a:lnTo>
                  <a:cubicBezTo>
                    <a:pt x="32239" y="635"/>
                    <a:pt x="-1384" y="-794"/>
                    <a:pt x="44" y="635"/>
                  </a:cubicBezTo>
                  <a:lnTo>
                    <a:pt x="44" y="50260"/>
                  </a:lnTo>
                  <a:lnTo>
                    <a:pt x="18809" y="69025"/>
                  </a:lnTo>
                </a:path>
              </a:pathLst>
            </a:custGeom>
            <a:noFill/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D45671E2-486B-7D17-C69B-F86C95AD8C4F}"/>
                </a:ext>
              </a:extLst>
            </p:cNvPr>
            <p:cNvSpPr/>
            <p:nvPr/>
          </p:nvSpPr>
          <p:spPr>
            <a:xfrm>
              <a:off x="5967053" y="4165135"/>
              <a:ext cx="42195" cy="9525"/>
            </a:xfrm>
            <a:custGeom>
              <a:avLst/>
              <a:gdLst>
                <a:gd name="csX0" fmla="*/ 0 w 42195"/>
                <a:gd name="csY0" fmla="*/ 0 h 9525"/>
                <a:gd name="csX1" fmla="*/ 42196 w 42195"/>
                <a:gd name="csY1" fmla="*/ 0 h 95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42195" h="9525">
                  <a:moveTo>
                    <a:pt x="0" y="0"/>
                  </a:moveTo>
                  <a:lnTo>
                    <a:pt x="42196" y="0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5B15B6BF-3DD4-4E98-8D99-1A80822D640D}"/>
                </a:ext>
              </a:extLst>
            </p:cNvPr>
            <p:cNvSpPr/>
            <p:nvPr/>
          </p:nvSpPr>
          <p:spPr>
            <a:xfrm>
              <a:off x="5709783" y="4165135"/>
              <a:ext cx="44005" cy="9525"/>
            </a:xfrm>
            <a:custGeom>
              <a:avLst/>
              <a:gdLst>
                <a:gd name="csX0" fmla="*/ 44006 w 44005"/>
                <a:gd name="csY0" fmla="*/ 0 h 9525"/>
                <a:gd name="csX1" fmla="*/ 0 w 44005"/>
                <a:gd name="csY1" fmla="*/ 0 h 95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44005" h="9525">
                  <a:moveTo>
                    <a:pt x="44006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EB6C6E9B-C36E-31B1-B5EF-33F1917B94BC}"/>
                </a:ext>
              </a:extLst>
            </p:cNvPr>
            <p:cNvSpPr/>
            <p:nvPr/>
          </p:nvSpPr>
          <p:spPr>
            <a:xfrm>
              <a:off x="5737405" y="4119700"/>
              <a:ext cx="20669" cy="14859"/>
            </a:xfrm>
            <a:custGeom>
              <a:avLst/>
              <a:gdLst>
                <a:gd name="csX0" fmla="*/ 0 w 20669"/>
                <a:gd name="csY0" fmla="*/ 0 h 14859"/>
                <a:gd name="csX1" fmla="*/ 20669 w 20669"/>
                <a:gd name="csY1" fmla="*/ 14859 h 1485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0669" h="14859">
                  <a:moveTo>
                    <a:pt x="0" y="0"/>
                  </a:moveTo>
                  <a:lnTo>
                    <a:pt x="20669" y="14859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40225ED3-4CB2-774E-AB26-47E232C249AF}"/>
                </a:ext>
              </a:extLst>
            </p:cNvPr>
            <p:cNvSpPr/>
            <p:nvPr/>
          </p:nvSpPr>
          <p:spPr>
            <a:xfrm>
              <a:off x="5734262" y="4197520"/>
              <a:ext cx="23812" cy="15620"/>
            </a:xfrm>
            <a:custGeom>
              <a:avLst/>
              <a:gdLst>
                <a:gd name="csX0" fmla="*/ 0 w 23812"/>
                <a:gd name="csY0" fmla="*/ 15621 h 15620"/>
                <a:gd name="csX1" fmla="*/ 23813 w 23812"/>
                <a:gd name="csY1" fmla="*/ 0 h 1562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3812" h="15620">
                  <a:moveTo>
                    <a:pt x="0" y="15621"/>
                  </a:moveTo>
                  <a:lnTo>
                    <a:pt x="23813" y="0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8DD84175-F512-0D81-A76D-C4546C7D5542}"/>
                </a:ext>
              </a:extLst>
            </p:cNvPr>
            <p:cNvSpPr/>
            <p:nvPr/>
          </p:nvSpPr>
          <p:spPr>
            <a:xfrm>
              <a:off x="5960957" y="4197520"/>
              <a:ext cx="25050" cy="15620"/>
            </a:xfrm>
            <a:custGeom>
              <a:avLst/>
              <a:gdLst>
                <a:gd name="csX0" fmla="*/ 0 w 25050"/>
                <a:gd name="csY0" fmla="*/ 0 h 15620"/>
                <a:gd name="csX1" fmla="*/ 25051 w 25050"/>
                <a:gd name="csY1" fmla="*/ 15621 h 1562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5050" h="15620">
                  <a:moveTo>
                    <a:pt x="0" y="0"/>
                  </a:moveTo>
                  <a:lnTo>
                    <a:pt x="25051" y="15621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A9FA0936-B9A4-3483-1765-AED3BC7749B8}"/>
                </a:ext>
              </a:extLst>
            </p:cNvPr>
            <p:cNvSpPr/>
            <p:nvPr/>
          </p:nvSpPr>
          <p:spPr>
            <a:xfrm>
              <a:off x="5960957" y="4119700"/>
              <a:ext cx="25050" cy="14859"/>
            </a:xfrm>
            <a:custGeom>
              <a:avLst/>
              <a:gdLst>
                <a:gd name="csX0" fmla="*/ 0 w 25050"/>
                <a:gd name="csY0" fmla="*/ 14859 h 14859"/>
                <a:gd name="csX1" fmla="*/ 25051 w 25050"/>
                <a:gd name="csY1" fmla="*/ 0 h 1485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5050" h="14859">
                  <a:moveTo>
                    <a:pt x="0" y="14859"/>
                  </a:moveTo>
                  <a:lnTo>
                    <a:pt x="25051" y="0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CCDB7C23-BCCC-0F68-F3EE-C53C8253A1ED}"/>
              </a:ext>
            </a:extLst>
          </p:cNvPr>
          <p:cNvGrpSpPr/>
          <p:nvPr/>
        </p:nvGrpSpPr>
        <p:grpSpPr>
          <a:xfrm>
            <a:off x="5683271" y="5506128"/>
            <a:ext cx="352293" cy="490577"/>
            <a:chOff x="5683271" y="5506128"/>
            <a:chExt cx="352293" cy="490577"/>
          </a:xfrm>
        </p:grpSpPr>
        <p:grpSp>
          <p:nvGrpSpPr>
            <p:cNvPr id="137" name="Graphic 106">
              <a:extLst>
                <a:ext uri="{FF2B5EF4-FFF2-40B4-BE49-F238E27FC236}">
                  <a16:creationId xmlns:a16="http://schemas.microsoft.com/office/drawing/2014/main" id="{779F9002-819B-5EDA-7750-30F3517573FE}"/>
                </a:ext>
              </a:extLst>
            </p:cNvPr>
            <p:cNvGrpSpPr/>
            <p:nvPr/>
          </p:nvGrpSpPr>
          <p:grpSpPr>
            <a:xfrm>
              <a:off x="5789483" y="5577976"/>
              <a:ext cx="127497" cy="162839"/>
              <a:chOff x="5789483" y="5577976"/>
              <a:chExt cx="127497" cy="162839"/>
            </a:xfrm>
            <a:noFill/>
          </p:grpSpPr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7E6E2ECE-8E41-BDFA-B317-1028EF8372E8}"/>
                  </a:ext>
                </a:extLst>
              </p:cNvPr>
              <p:cNvSpPr/>
              <p:nvPr/>
            </p:nvSpPr>
            <p:spPr>
              <a:xfrm>
                <a:off x="5814331" y="5577976"/>
                <a:ext cx="77099" cy="94634"/>
              </a:xfrm>
              <a:custGeom>
                <a:avLst/>
                <a:gdLst>
                  <a:gd name="csX0" fmla="*/ 67693 w 77099"/>
                  <a:gd name="csY0" fmla="*/ 70298 h 94634"/>
                  <a:gd name="csX1" fmla="*/ 40489 w 77099"/>
                  <a:gd name="csY1" fmla="*/ 94635 h 94634"/>
                  <a:gd name="csX2" fmla="*/ 37621 w 77099"/>
                  <a:gd name="csY2" fmla="*/ 94635 h 94634"/>
                  <a:gd name="csX3" fmla="*/ 11889 w 77099"/>
                  <a:gd name="csY3" fmla="*/ 71693 h 94634"/>
                  <a:gd name="csX4" fmla="*/ 1348 w 77099"/>
                  <a:gd name="csY4" fmla="*/ 59215 h 94634"/>
                  <a:gd name="csX5" fmla="*/ 5301 w 77099"/>
                  <a:gd name="csY5" fmla="*/ 46969 h 94634"/>
                  <a:gd name="csX6" fmla="*/ 5301 w 77099"/>
                  <a:gd name="csY6" fmla="*/ 31467 h 94634"/>
                  <a:gd name="csX7" fmla="*/ 36769 w 77099"/>
                  <a:gd name="csY7" fmla="*/ 0 h 94634"/>
                  <a:gd name="csX8" fmla="*/ 41264 w 77099"/>
                  <a:gd name="csY8" fmla="*/ 0 h 94634"/>
                  <a:gd name="csX9" fmla="*/ 72731 w 77099"/>
                  <a:gd name="csY9" fmla="*/ 31467 h 94634"/>
                  <a:gd name="csX10" fmla="*/ 72731 w 77099"/>
                  <a:gd name="csY10" fmla="*/ 46736 h 94634"/>
                  <a:gd name="csX11" fmla="*/ 76684 w 77099"/>
                  <a:gd name="csY11" fmla="*/ 54487 h 94634"/>
                  <a:gd name="csX12" fmla="*/ 67616 w 77099"/>
                  <a:gd name="csY12" fmla="*/ 70220 h 946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77099" h="94634">
                    <a:moveTo>
                      <a:pt x="67693" y="70298"/>
                    </a:moveTo>
                    <a:cubicBezTo>
                      <a:pt x="67693" y="70298"/>
                      <a:pt x="57618" y="94635"/>
                      <a:pt x="40489" y="94635"/>
                    </a:cubicBezTo>
                    <a:lnTo>
                      <a:pt x="37621" y="94635"/>
                    </a:lnTo>
                    <a:cubicBezTo>
                      <a:pt x="19717" y="94635"/>
                      <a:pt x="11889" y="71693"/>
                      <a:pt x="11889" y="71693"/>
                    </a:cubicBezTo>
                    <a:cubicBezTo>
                      <a:pt x="6541" y="70298"/>
                      <a:pt x="3053" y="64020"/>
                      <a:pt x="1348" y="59215"/>
                    </a:cubicBezTo>
                    <a:cubicBezTo>
                      <a:pt x="-3225" y="45186"/>
                      <a:pt x="5301" y="46969"/>
                      <a:pt x="5301" y="46969"/>
                    </a:cubicBezTo>
                    <a:lnTo>
                      <a:pt x="5301" y="31467"/>
                    </a:lnTo>
                    <a:cubicBezTo>
                      <a:pt x="5301" y="14184"/>
                      <a:pt x="19485" y="0"/>
                      <a:pt x="36769" y="0"/>
                    </a:cubicBezTo>
                    <a:lnTo>
                      <a:pt x="41264" y="0"/>
                    </a:lnTo>
                    <a:cubicBezTo>
                      <a:pt x="58548" y="0"/>
                      <a:pt x="72731" y="14184"/>
                      <a:pt x="72731" y="31467"/>
                    </a:cubicBezTo>
                    <a:lnTo>
                      <a:pt x="72731" y="46736"/>
                    </a:lnTo>
                    <a:cubicBezTo>
                      <a:pt x="72731" y="46736"/>
                      <a:pt x="78699" y="45108"/>
                      <a:pt x="76684" y="54487"/>
                    </a:cubicBezTo>
                    <a:cubicBezTo>
                      <a:pt x="75212" y="62237"/>
                      <a:pt x="72731" y="69213"/>
                      <a:pt x="67616" y="70220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A6A6A6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66DE2846-7D4F-EA67-E8D4-B1FFAE79A487}"/>
                  </a:ext>
                </a:extLst>
              </p:cNvPr>
              <p:cNvSpPr/>
              <p:nvPr/>
            </p:nvSpPr>
            <p:spPr>
              <a:xfrm>
                <a:off x="5789483" y="5671681"/>
                <a:ext cx="127497" cy="69135"/>
              </a:xfrm>
              <a:custGeom>
                <a:avLst/>
                <a:gdLst>
                  <a:gd name="csX0" fmla="*/ 48519 w 127497"/>
                  <a:gd name="csY0" fmla="*/ 0 h 69135"/>
                  <a:gd name="csX1" fmla="*/ 8526 w 127497"/>
                  <a:gd name="csY1" fmla="*/ 17129 h 69135"/>
                  <a:gd name="csX2" fmla="*/ 1473 w 127497"/>
                  <a:gd name="csY2" fmla="*/ 28987 h 69135"/>
                  <a:gd name="csX3" fmla="*/ 0 w 127497"/>
                  <a:gd name="csY3" fmla="*/ 69135 h 69135"/>
                  <a:gd name="csX4" fmla="*/ 127498 w 127497"/>
                  <a:gd name="csY4" fmla="*/ 69135 h 69135"/>
                  <a:gd name="csX5" fmla="*/ 126025 w 127497"/>
                  <a:gd name="csY5" fmla="*/ 30072 h 69135"/>
                  <a:gd name="csX6" fmla="*/ 116414 w 127497"/>
                  <a:gd name="csY6" fmla="*/ 16586 h 69135"/>
                  <a:gd name="csX7" fmla="*/ 78049 w 127497"/>
                  <a:gd name="csY7" fmla="*/ 620 h 6913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127497" h="69135">
                    <a:moveTo>
                      <a:pt x="48519" y="0"/>
                    </a:moveTo>
                    <a:lnTo>
                      <a:pt x="8526" y="17129"/>
                    </a:lnTo>
                    <a:cubicBezTo>
                      <a:pt x="8526" y="17129"/>
                      <a:pt x="2248" y="20307"/>
                      <a:pt x="1473" y="28987"/>
                    </a:cubicBezTo>
                    <a:cubicBezTo>
                      <a:pt x="698" y="37668"/>
                      <a:pt x="0" y="69135"/>
                      <a:pt x="0" y="69135"/>
                    </a:cubicBezTo>
                    <a:lnTo>
                      <a:pt x="127498" y="69135"/>
                    </a:lnTo>
                    <a:lnTo>
                      <a:pt x="126025" y="30072"/>
                    </a:lnTo>
                    <a:cubicBezTo>
                      <a:pt x="126025" y="30072"/>
                      <a:pt x="126800" y="21004"/>
                      <a:pt x="116414" y="16586"/>
                    </a:cubicBezTo>
                    <a:cubicBezTo>
                      <a:pt x="106028" y="12168"/>
                      <a:pt x="78049" y="620"/>
                      <a:pt x="78049" y="620"/>
                    </a:cubicBezTo>
                  </a:path>
                </a:pathLst>
              </a:custGeom>
              <a:noFill/>
              <a:ln w="12700" cap="flat">
                <a:solidFill>
                  <a:srgbClr val="A6A6A6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B47E03E8-7536-5030-BAF3-B138AC2BBBE6}"/>
                  </a:ext>
                </a:extLst>
              </p:cNvPr>
              <p:cNvSpPr/>
              <p:nvPr/>
            </p:nvSpPr>
            <p:spPr>
              <a:xfrm>
                <a:off x="5844744" y="5681214"/>
                <a:ext cx="16198" cy="14726"/>
              </a:xfrm>
              <a:custGeom>
                <a:avLst/>
                <a:gdLst>
                  <a:gd name="csX0" fmla="*/ 8061 w 16198"/>
                  <a:gd name="csY0" fmla="*/ 14726 h 14726"/>
                  <a:gd name="csX1" fmla="*/ 16199 w 16198"/>
                  <a:gd name="csY1" fmla="*/ 9146 h 14726"/>
                  <a:gd name="csX2" fmla="*/ 14881 w 16198"/>
                  <a:gd name="csY2" fmla="*/ 0 h 14726"/>
                  <a:gd name="csX3" fmla="*/ 1240 w 16198"/>
                  <a:gd name="csY3" fmla="*/ 0 h 14726"/>
                  <a:gd name="csX4" fmla="*/ 0 w 16198"/>
                  <a:gd name="csY4" fmla="*/ 9146 h 14726"/>
                  <a:gd name="csX5" fmla="*/ 8061 w 16198"/>
                  <a:gd name="csY5" fmla="*/ 14726 h 1472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</a:cxnLst>
                <a:rect l="l" t="t" r="r" b="b"/>
                <a:pathLst>
                  <a:path w="16198" h="14726">
                    <a:moveTo>
                      <a:pt x="8061" y="14726"/>
                    </a:moveTo>
                    <a:lnTo>
                      <a:pt x="16199" y="9146"/>
                    </a:lnTo>
                    <a:lnTo>
                      <a:pt x="14881" y="0"/>
                    </a:lnTo>
                    <a:lnTo>
                      <a:pt x="1240" y="0"/>
                    </a:lnTo>
                    <a:lnTo>
                      <a:pt x="0" y="9146"/>
                    </a:lnTo>
                    <a:lnTo>
                      <a:pt x="8061" y="14726"/>
                    </a:lnTo>
                    <a:close/>
                  </a:path>
                </a:pathLst>
              </a:custGeom>
              <a:noFill/>
              <a:ln w="12700" cap="flat">
                <a:solidFill>
                  <a:srgbClr val="A6A6A6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2DAE8CF4-64D0-599A-A0DB-E55C353717C7}"/>
                  </a:ext>
                </a:extLst>
              </p:cNvPr>
              <p:cNvSpPr/>
              <p:nvPr/>
            </p:nvSpPr>
            <p:spPr>
              <a:xfrm>
                <a:off x="5858076" y="5692298"/>
                <a:ext cx="2867" cy="48518"/>
              </a:xfrm>
              <a:custGeom>
                <a:avLst/>
                <a:gdLst>
                  <a:gd name="csX0" fmla="*/ 2868 w 2867"/>
                  <a:gd name="csY0" fmla="*/ 48519 h 48518"/>
                  <a:gd name="csX1" fmla="*/ 0 w 2867"/>
                  <a:gd name="csY1" fmla="*/ 0 h 4851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2867" h="48518">
                    <a:moveTo>
                      <a:pt x="2868" y="48519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A6A6A6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4E8CAB48-9197-664C-972E-9A88925DB2F4}"/>
                  </a:ext>
                </a:extLst>
              </p:cNvPr>
              <p:cNvSpPr/>
              <p:nvPr/>
            </p:nvSpPr>
            <p:spPr>
              <a:xfrm>
                <a:off x="5844667" y="5692298"/>
                <a:ext cx="2945" cy="48518"/>
              </a:xfrm>
              <a:custGeom>
                <a:avLst/>
                <a:gdLst>
                  <a:gd name="csX0" fmla="*/ 2945 w 2945"/>
                  <a:gd name="csY0" fmla="*/ 0 h 48518"/>
                  <a:gd name="csX1" fmla="*/ 0 w 2945"/>
                  <a:gd name="csY1" fmla="*/ 48519 h 4851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2945" h="48518">
                    <a:moveTo>
                      <a:pt x="2945" y="0"/>
                    </a:moveTo>
                    <a:lnTo>
                      <a:pt x="0" y="48519"/>
                    </a:lnTo>
                  </a:path>
                </a:pathLst>
              </a:custGeom>
              <a:ln w="12700" cap="flat">
                <a:solidFill>
                  <a:srgbClr val="A6A6A6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</p:grpSp>
        <p:grpSp>
          <p:nvGrpSpPr>
            <p:cNvPr id="138" name="Graphic 106">
              <a:extLst>
                <a:ext uri="{FF2B5EF4-FFF2-40B4-BE49-F238E27FC236}">
                  <a16:creationId xmlns:a16="http://schemas.microsoft.com/office/drawing/2014/main" id="{3C561D2F-8D53-2729-0060-8F35D3A9B14B}"/>
                </a:ext>
              </a:extLst>
            </p:cNvPr>
            <p:cNvGrpSpPr/>
            <p:nvPr/>
          </p:nvGrpSpPr>
          <p:grpSpPr>
            <a:xfrm>
              <a:off x="5683271" y="5766940"/>
              <a:ext cx="352293" cy="229765"/>
              <a:chOff x="5683271" y="5766940"/>
              <a:chExt cx="352293" cy="229765"/>
            </a:xfrm>
            <a:noFill/>
          </p:grpSpPr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0CC16CBB-4A93-C87B-8B7D-49C1749BF3B4}"/>
                  </a:ext>
                </a:extLst>
              </p:cNvPr>
              <p:cNvSpPr/>
              <p:nvPr/>
            </p:nvSpPr>
            <p:spPr>
              <a:xfrm>
                <a:off x="5683271" y="5766940"/>
                <a:ext cx="153102" cy="131332"/>
              </a:xfrm>
              <a:custGeom>
                <a:avLst/>
                <a:gdLst>
                  <a:gd name="csX0" fmla="*/ 92105 w 153102"/>
                  <a:gd name="csY0" fmla="*/ 27356 h 131332"/>
                  <a:gd name="csX1" fmla="*/ 80557 w 153102"/>
                  <a:gd name="csY1" fmla="*/ 3794 h 131332"/>
                  <a:gd name="csX2" fmla="*/ 62343 w 153102"/>
                  <a:gd name="csY2" fmla="*/ 7902 h 131332"/>
                  <a:gd name="csX3" fmla="*/ 10336 w 153102"/>
                  <a:gd name="csY3" fmla="*/ 99979 h 131332"/>
                  <a:gd name="csX4" fmla="*/ 5221 w 153102"/>
                  <a:gd name="csY4" fmla="*/ 107807 h 131332"/>
                  <a:gd name="csX5" fmla="*/ 7779 w 153102"/>
                  <a:gd name="csY5" fmla="*/ 128578 h 131332"/>
                  <a:gd name="csX6" fmla="*/ 32426 w 153102"/>
                  <a:gd name="csY6" fmla="*/ 123386 h 131332"/>
                  <a:gd name="csX7" fmla="*/ 80247 w 153102"/>
                  <a:gd name="csY7" fmla="*/ 41539 h 131332"/>
                  <a:gd name="csX8" fmla="*/ 105126 w 153102"/>
                  <a:gd name="csY8" fmla="*/ 27278 h 131332"/>
                  <a:gd name="csX9" fmla="*/ 138841 w 153102"/>
                  <a:gd name="csY9" fmla="*/ 27278 h 131332"/>
                  <a:gd name="csX10" fmla="*/ 153103 w 153102"/>
                  <a:gd name="csY10" fmla="*/ 31231 h 13133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153102" h="131332">
                    <a:moveTo>
                      <a:pt x="92105" y="27356"/>
                    </a:moveTo>
                    <a:cubicBezTo>
                      <a:pt x="91098" y="18133"/>
                      <a:pt x="89858" y="9452"/>
                      <a:pt x="80557" y="3794"/>
                    </a:cubicBezTo>
                    <a:cubicBezTo>
                      <a:pt x="71334" y="-1709"/>
                      <a:pt x="68001" y="-1942"/>
                      <a:pt x="62343" y="7902"/>
                    </a:cubicBezTo>
                    <a:cubicBezTo>
                      <a:pt x="44827" y="38517"/>
                      <a:pt x="27698" y="69286"/>
                      <a:pt x="10336" y="99979"/>
                    </a:cubicBezTo>
                    <a:cubicBezTo>
                      <a:pt x="8786" y="102691"/>
                      <a:pt x="6849" y="105172"/>
                      <a:pt x="5221" y="107807"/>
                    </a:cubicBezTo>
                    <a:cubicBezTo>
                      <a:pt x="-2297" y="120053"/>
                      <a:pt x="-1910" y="122921"/>
                      <a:pt x="7779" y="128578"/>
                    </a:cubicBezTo>
                    <a:cubicBezTo>
                      <a:pt x="16692" y="133694"/>
                      <a:pt x="27620" y="131524"/>
                      <a:pt x="32426" y="123386"/>
                    </a:cubicBezTo>
                    <a:cubicBezTo>
                      <a:pt x="48469" y="96181"/>
                      <a:pt x="64823" y="69131"/>
                      <a:pt x="80247" y="41539"/>
                    </a:cubicBezTo>
                    <a:cubicBezTo>
                      <a:pt x="86060" y="31231"/>
                      <a:pt x="93423" y="26658"/>
                      <a:pt x="105126" y="27278"/>
                    </a:cubicBezTo>
                    <a:cubicBezTo>
                      <a:pt x="116365" y="27821"/>
                      <a:pt x="127603" y="27511"/>
                      <a:pt x="138841" y="27278"/>
                    </a:cubicBezTo>
                    <a:cubicBezTo>
                      <a:pt x="144034" y="27278"/>
                      <a:pt x="149072" y="27356"/>
                      <a:pt x="153103" y="31231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1CC33297-FE7D-89A1-2AFE-AB9CC9518871}"/>
                  </a:ext>
                </a:extLst>
              </p:cNvPr>
              <p:cNvSpPr/>
              <p:nvPr/>
            </p:nvSpPr>
            <p:spPr>
              <a:xfrm>
                <a:off x="5817856" y="5786002"/>
                <a:ext cx="217708" cy="141913"/>
              </a:xfrm>
              <a:custGeom>
                <a:avLst/>
                <a:gdLst>
                  <a:gd name="csX0" fmla="*/ 135319 w 217708"/>
                  <a:gd name="csY0" fmla="*/ 19997 h 141913"/>
                  <a:gd name="csX1" fmla="*/ 178955 w 217708"/>
                  <a:gd name="csY1" fmla="*/ 104556 h 141913"/>
                  <a:gd name="csX2" fmla="*/ 201432 w 217708"/>
                  <a:gd name="csY2" fmla="*/ 114244 h 141913"/>
                  <a:gd name="csX3" fmla="*/ 217708 w 217708"/>
                  <a:gd name="csY3" fmla="*/ 104943 h 141913"/>
                  <a:gd name="csX4" fmla="*/ 160509 w 217708"/>
                  <a:gd name="csY4" fmla="*/ 0 h 141913"/>
                  <a:gd name="csX5" fmla="*/ 139427 w 217708"/>
                  <a:gd name="csY5" fmla="*/ 13641 h 141913"/>
                  <a:gd name="csX6" fmla="*/ 125011 w 217708"/>
                  <a:gd name="csY6" fmla="*/ 18679 h 141913"/>
                  <a:gd name="csX7" fmla="*/ 53628 w 217708"/>
                  <a:gd name="csY7" fmla="*/ 8991 h 141913"/>
                  <a:gd name="csX8" fmla="*/ 11775 w 217708"/>
                  <a:gd name="csY8" fmla="*/ 19687 h 141913"/>
                  <a:gd name="csX9" fmla="*/ 4566 w 217708"/>
                  <a:gd name="csY9" fmla="*/ 35653 h 141913"/>
                  <a:gd name="csX10" fmla="*/ 7589 w 217708"/>
                  <a:gd name="csY10" fmla="*/ 74173 h 141913"/>
                  <a:gd name="csX11" fmla="*/ 34174 w 217708"/>
                  <a:gd name="csY11" fmla="*/ 60222 h 141913"/>
                  <a:gd name="csX12" fmla="*/ 69439 w 217708"/>
                  <a:gd name="csY12" fmla="*/ 55959 h 141913"/>
                  <a:gd name="csX13" fmla="*/ 89823 w 217708"/>
                  <a:gd name="csY13" fmla="*/ 82389 h 141913"/>
                  <a:gd name="csX14" fmla="*/ 135319 w 217708"/>
                  <a:gd name="csY14" fmla="*/ 131605 h 141913"/>
                  <a:gd name="csX15" fmla="*/ 141907 w 217708"/>
                  <a:gd name="csY15" fmla="*/ 141913 h 14191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217708" h="141913">
                    <a:moveTo>
                      <a:pt x="135319" y="19997"/>
                    </a:moveTo>
                    <a:cubicBezTo>
                      <a:pt x="150045" y="48131"/>
                      <a:pt x="165779" y="75723"/>
                      <a:pt x="178955" y="104556"/>
                    </a:cubicBezTo>
                    <a:cubicBezTo>
                      <a:pt x="184536" y="116724"/>
                      <a:pt x="192906" y="115716"/>
                      <a:pt x="201432" y="114244"/>
                    </a:cubicBezTo>
                    <a:cubicBezTo>
                      <a:pt x="206625" y="113391"/>
                      <a:pt x="213523" y="112849"/>
                      <a:pt x="217708" y="104943"/>
                    </a:cubicBezTo>
                    <a:cubicBezTo>
                      <a:pt x="199649" y="70298"/>
                      <a:pt x="181590" y="34103"/>
                      <a:pt x="160509" y="0"/>
                    </a:cubicBezTo>
                    <a:cubicBezTo>
                      <a:pt x="150123" y="1705"/>
                      <a:pt x="144387" y="7518"/>
                      <a:pt x="139427" y="13641"/>
                    </a:cubicBezTo>
                    <a:cubicBezTo>
                      <a:pt x="135319" y="18601"/>
                      <a:pt x="130514" y="19454"/>
                      <a:pt x="125011" y="18679"/>
                    </a:cubicBezTo>
                    <a:cubicBezTo>
                      <a:pt x="101217" y="15346"/>
                      <a:pt x="77500" y="10153"/>
                      <a:pt x="53628" y="8991"/>
                    </a:cubicBezTo>
                    <a:cubicBezTo>
                      <a:pt x="39599" y="8293"/>
                      <a:pt x="23866" y="6666"/>
                      <a:pt x="11775" y="19687"/>
                    </a:cubicBezTo>
                    <a:cubicBezTo>
                      <a:pt x="7047" y="24802"/>
                      <a:pt x="5342" y="30072"/>
                      <a:pt x="4566" y="35653"/>
                    </a:cubicBezTo>
                    <a:cubicBezTo>
                      <a:pt x="2861" y="48906"/>
                      <a:pt x="-6362" y="67508"/>
                      <a:pt x="7589" y="74173"/>
                    </a:cubicBezTo>
                    <a:cubicBezTo>
                      <a:pt x="21540" y="80839"/>
                      <a:pt x="27663" y="67973"/>
                      <a:pt x="34174" y="60222"/>
                    </a:cubicBezTo>
                    <a:cubicBezTo>
                      <a:pt x="47737" y="44023"/>
                      <a:pt x="53163" y="44256"/>
                      <a:pt x="69439" y="55959"/>
                    </a:cubicBezTo>
                    <a:cubicBezTo>
                      <a:pt x="79282" y="63090"/>
                      <a:pt x="81918" y="74328"/>
                      <a:pt x="89823" y="82389"/>
                    </a:cubicBezTo>
                    <a:cubicBezTo>
                      <a:pt x="105402" y="98355"/>
                      <a:pt x="120361" y="115019"/>
                      <a:pt x="135319" y="131605"/>
                    </a:cubicBezTo>
                    <a:cubicBezTo>
                      <a:pt x="138032" y="134550"/>
                      <a:pt x="139737" y="138426"/>
                      <a:pt x="141907" y="141913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76729E3E-62D6-9DA7-C1BB-9DF223AE8AA2}"/>
                  </a:ext>
                </a:extLst>
              </p:cNvPr>
              <p:cNvSpPr/>
              <p:nvPr/>
            </p:nvSpPr>
            <p:spPr>
              <a:xfrm>
                <a:off x="5789053" y="5908462"/>
                <a:ext cx="121165" cy="73044"/>
              </a:xfrm>
              <a:custGeom>
                <a:avLst/>
                <a:gdLst>
                  <a:gd name="csX0" fmla="*/ 71968 w 121165"/>
                  <a:gd name="csY0" fmla="*/ 0 h 73044"/>
                  <a:gd name="csX1" fmla="*/ 114829 w 121165"/>
                  <a:gd name="csY1" fmla="*/ 45341 h 73044"/>
                  <a:gd name="csX2" fmla="*/ 106923 w 121165"/>
                  <a:gd name="csY2" fmla="*/ 72468 h 73044"/>
                  <a:gd name="csX3" fmla="*/ 96460 w 121165"/>
                  <a:gd name="csY3" fmla="*/ 68980 h 73044"/>
                  <a:gd name="csX4" fmla="*/ 58947 w 121165"/>
                  <a:gd name="csY4" fmla="*/ 26042 h 73044"/>
                  <a:gd name="csX5" fmla="*/ 48639 w 121165"/>
                  <a:gd name="csY5" fmla="*/ 19454 h 73044"/>
                  <a:gd name="csX6" fmla="*/ 18411 w 121165"/>
                  <a:gd name="csY6" fmla="*/ 19221 h 73044"/>
                  <a:gd name="csX7" fmla="*/ 972 w 121165"/>
                  <a:gd name="csY7" fmla="*/ 43016 h 73044"/>
                  <a:gd name="csX8" fmla="*/ 27867 w 121165"/>
                  <a:gd name="csY8" fmla="*/ 68825 h 7304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21165" h="73044">
                    <a:moveTo>
                      <a:pt x="71968" y="0"/>
                    </a:moveTo>
                    <a:cubicBezTo>
                      <a:pt x="86229" y="15114"/>
                      <a:pt x="100335" y="30460"/>
                      <a:pt x="114829" y="45341"/>
                    </a:cubicBezTo>
                    <a:cubicBezTo>
                      <a:pt x="125602" y="56424"/>
                      <a:pt x="122424" y="66035"/>
                      <a:pt x="106923" y="72468"/>
                    </a:cubicBezTo>
                    <a:cubicBezTo>
                      <a:pt x="103668" y="73786"/>
                      <a:pt x="99715" y="72933"/>
                      <a:pt x="96460" y="68980"/>
                    </a:cubicBezTo>
                    <a:cubicBezTo>
                      <a:pt x="84369" y="54332"/>
                      <a:pt x="71658" y="40148"/>
                      <a:pt x="58947" y="26042"/>
                    </a:cubicBezTo>
                    <a:cubicBezTo>
                      <a:pt x="56234" y="23019"/>
                      <a:pt x="54064" y="18834"/>
                      <a:pt x="48639" y="19454"/>
                    </a:cubicBezTo>
                    <a:cubicBezTo>
                      <a:pt x="38718" y="20539"/>
                      <a:pt x="29650" y="4728"/>
                      <a:pt x="18411" y="19221"/>
                    </a:cubicBezTo>
                    <a:cubicBezTo>
                      <a:pt x="12366" y="27050"/>
                      <a:pt x="4383" y="33870"/>
                      <a:pt x="972" y="43016"/>
                    </a:cubicBezTo>
                    <a:cubicBezTo>
                      <a:pt x="-4143" y="56657"/>
                      <a:pt x="11823" y="71305"/>
                      <a:pt x="27867" y="68825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09B50402-B929-CA18-D8FB-53F6B929D048}"/>
                  </a:ext>
                </a:extLst>
              </p:cNvPr>
              <p:cNvSpPr/>
              <p:nvPr/>
            </p:nvSpPr>
            <p:spPr>
              <a:xfrm>
                <a:off x="5885668" y="5889008"/>
                <a:ext cx="50557" cy="75335"/>
              </a:xfrm>
              <a:custGeom>
                <a:avLst/>
                <a:gdLst>
                  <a:gd name="csX0" fmla="*/ 0 w 50557"/>
                  <a:gd name="csY0" fmla="*/ 0 h 75335"/>
                  <a:gd name="csX1" fmla="*/ 42783 w 50557"/>
                  <a:gd name="csY1" fmla="*/ 46736 h 75335"/>
                  <a:gd name="csX2" fmla="*/ 49216 w 50557"/>
                  <a:gd name="csY2" fmla="*/ 62315 h 75335"/>
                  <a:gd name="csX3" fmla="*/ 32398 w 50557"/>
                  <a:gd name="csY3" fmla="*/ 74096 h 75335"/>
                  <a:gd name="csX4" fmla="*/ 25887 w 50557"/>
                  <a:gd name="csY4" fmla="*/ 75336 h 7533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50557" h="75335">
                    <a:moveTo>
                      <a:pt x="0" y="0"/>
                    </a:moveTo>
                    <a:cubicBezTo>
                      <a:pt x="14261" y="15579"/>
                      <a:pt x="28522" y="31157"/>
                      <a:pt x="42783" y="46736"/>
                    </a:cubicBezTo>
                    <a:cubicBezTo>
                      <a:pt x="46814" y="51154"/>
                      <a:pt x="53402" y="54642"/>
                      <a:pt x="49216" y="62315"/>
                    </a:cubicBezTo>
                    <a:cubicBezTo>
                      <a:pt x="45574" y="68903"/>
                      <a:pt x="41388" y="74871"/>
                      <a:pt x="32398" y="74096"/>
                    </a:cubicBezTo>
                    <a:cubicBezTo>
                      <a:pt x="30305" y="73941"/>
                      <a:pt x="28057" y="74871"/>
                      <a:pt x="25887" y="75336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46F0D8B4-724C-7135-6BFF-9966AED3B935}"/>
                  </a:ext>
                </a:extLst>
              </p:cNvPr>
              <p:cNvSpPr/>
              <p:nvPr/>
            </p:nvSpPr>
            <p:spPr>
              <a:xfrm>
                <a:off x="5742940" y="5903173"/>
                <a:ext cx="33056" cy="45534"/>
              </a:xfrm>
              <a:custGeom>
                <a:avLst/>
                <a:gdLst>
                  <a:gd name="csX0" fmla="*/ 33057 w 33056"/>
                  <a:gd name="csY0" fmla="*/ 12419 h 45534"/>
                  <a:gd name="csX1" fmla="*/ 10425 w 33056"/>
                  <a:gd name="csY1" fmla="*/ 1491 h 45534"/>
                  <a:gd name="csX2" fmla="*/ 39 w 33056"/>
                  <a:gd name="csY2" fmla="*/ 27378 h 45534"/>
                  <a:gd name="csX3" fmla="*/ 16935 w 33056"/>
                  <a:gd name="csY3" fmla="*/ 45514 h 455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33056" h="45534">
                    <a:moveTo>
                      <a:pt x="33057" y="12419"/>
                    </a:moveTo>
                    <a:cubicBezTo>
                      <a:pt x="26624" y="6451"/>
                      <a:pt x="21973" y="-3857"/>
                      <a:pt x="10425" y="1491"/>
                    </a:cubicBezTo>
                    <a:cubicBezTo>
                      <a:pt x="-814" y="6684"/>
                      <a:pt x="-38" y="17302"/>
                      <a:pt x="39" y="27378"/>
                    </a:cubicBezTo>
                    <a:cubicBezTo>
                      <a:pt x="39" y="40864"/>
                      <a:pt x="4844" y="45902"/>
                      <a:pt x="16935" y="45514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DCB26217-EA69-F7F3-6F0B-39CDD916732D}"/>
                  </a:ext>
                </a:extLst>
              </p:cNvPr>
              <p:cNvSpPr/>
              <p:nvPr/>
            </p:nvSpPr>
            <p:spPr>
              <a:xfrm>
                <a:off x="5831181" y="5951322"/>
                <a:ext cx="55804" cy="44183"/>
              </a:xfrm>
              <a:custGeom>
                <a:avLst/>
                <a:gdLst>
                  <a:gd name="csX0" fmla="*/ 0 w 55804"/>
                  <a:gd name="csY0" fmla="*/ 0 h 44183"/>
                  <a:gd name="csX1" fmla="*/ 12789 w 55804"/>
                  <a:gd name="csY1" fmla="*/ 16896 h 44183"/>
                  <a:gd name="csX2" fmla="*/ 32708 w 55804"/>
                  <a:gd name="csY2" fmla="*/ 43403 h 44183"/>
                  <a:gd name="csX3" fmla="*/ 55804 w 55804"/>
                  <a:gd name="csY3" fmla="*/ 29840 h 4418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55804" h="44183">
                    <a:moveTo>
                      <a:pt x="0" y="0"/>
                    </a:moveTo>
                    <a:cubicBezTo>
                      <a:pt x="7131" y="3488"/>
                      <a:pt x="12091" y="9223"/>
                      <a:pt x="12789" y="16896"/>
                    </a:cubicBezTo>
                    <a:cubicBezTo>
                      <a:pt x="14029" y="30227"/>
                      <a:pt x="22167" y="39528"/>
                      <a:pt x="32708" y="43403"/>
                    </a:cubicBezTo>
                    <a:cubicBezTo>
                      <a:pt x="42318" y="46969"/>
                      <a:pt x="49836" y="37590"/>
                      <a:pt x="55804" y="29840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AA94AF03-E470-E07B-7558-F25A377ACDAE}"/>
                  </a:ext>
                </a:extLst>
              </p:cNvPr>
              <p:cNvSpPr/>
              <p:nvPr/>
            </p:nvSpPr>
            <p:spPr>
              <a:xfrm>
                <a:off x="5937519" y="5900711"/>
                <a:ext cx="62314" cy="45418"/>
              </a:xfrm>
              <a:custGeom>
                <a:avLst/>
                <a:gdLst>
                  <a:gd name="csX0" fmla="*/ 62315 w 62314"/>
                  <a:gd name="csY0" fmla="*/ 0 h 45418"/>
                  <a:gd name="csX1" fmla="*/ 37668 w 62314"/>
                  <a:gd name="csY1" fmla="*/ 19454 h 45418"/>
                  <a:gd name="csX2" fmla="*/ 15114 w 62314"/>
                  <a:gd name="csY2" fmla="*/ 37358 h 45418"/>
                  <a:gd name="csX3" fmla="*/ 0 w 62314"/>
                  <a:gd name="csY3" fmla="*/ 45418 h 4541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62314" h="45418">
                    <a:moveTo>
                      <a:pt x="62315" y="0"/>
                    </a:moveTo>
                    <a:cubicBezTo>
                      <a:pt x="55339" y="8061"/>
                      <a:pt x="46969" y="14339"/>
                      <a:pt x="37668" y="19454"/>
                    </a:cubicBezTo>
                    <a:cubicBezTo>
                      <a:pt x="29220" y="24182"/>
                      <a:pt x="20617" y="28057"/>
                      <a:pt x="15114" y="37358"/>
                    </a:cubicBezTo>
                    <a:cubicBezTo>
                      <a:pt x="12633" y="41543"/>
                      <a:pt x="5193" y="42783"/>
                      <a:pt x="0" y="45418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83348AB4-BE2B-EA85-5CF8-30FD1EB27A9D}"/>
                  </a:ext>
                </a:extLst>
              </p:cNvPr>
              <p:cNvSpPr/>
              <p:nvPr/>
            </p:nvSpPr>
            <p:spPr>
              <a:xfrm>
                <a:off x="5817731" y="5930551"/>
                <a:ext cx="35462" cy="66154"/>
              </a:xfrm>
              <a:custGeom>
                <a:avLst/>
                <a:gdLst>
                  <a:gd name="csX0" fmla="*/ 16008 w 35462"/>
                  <a:gd name="csY0" fmla="*/ 0 h 66154"/>
                  <a:gd name="csX1" fmla="*/ 5777 w 35462"/>
                  <a:gd name="csY1" fmla="*/ 26042 h 66154"/>
                  <a:gd name="csX2" fmla="*/ 6940 w 35462"/>
                  <a:gd name="csY2" fmla="*/ 54487 h 66154"/>
                  <a:gd name="csX3" fmla="*/ 35462 w 35462"/>
                  <a:gd name="csY3" fmla="*/ 60997 h 6615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35462" h="66154">
                    <a:moveTo>
                      <a:pt x="16008" y="0"/>
                    </a:moveTo>
                    <a:cubicBezTo>
                      <a:pt x="16163" y="10076"/>
                      <a:pt x="13373" y="18756"/>
                      <a:pt x="5777" y="26042"/>
                    </a:cubicBezTo>
                    <a:cubicBezTo>
                      <a:pt x="-2516" y="34103"/>
                      <a:pt x="-1663" y="44178"/>
                      <a:pt x="6940" y="54487"/>
                    </a:cubicBezTo>
                    <a:cubicBezTo>
                      <a:pt x="18333" y="68128"/>
                      <a:pt x="22751" y="69135"/>
                      <a:pt x="35462" y="60997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63A53B22-031D-3B71-8DBA-4079AADFBD9A}"/>
                  </a:ext>
                </a:extLst>
              </p:cNvPr>
              <p:cNvSpPr/>
              <p:nvPr/>
            </p:nvSpPr>
            <p:spPr>
              <a:xfrm>
                <a:off x="5760868" y="5910685"/>
                <a:ext cx="43030" cy="58448"/>
              </a:xfrm>
              <a:custGeom>
                <a:avLst/>
                <a:gdLst>
                  <a:gd name="csX0" fmla="*/ 43030 w 43030"/>
                  <a:gd name="csY0" fmla="*/ 17928 h 58448"/>
                  <a:gd name="csX1" fmla="*/ 9393 w 43030"/>
                  <a:gd name="csY1" fmla="*/ 14750 h 58448"/>
                  <a:gd name="csX2" fmla="*/ 10323 w 43030"/>
                  <a:gd name="csY2" fmla="*/ 52496 h 58448"/>
                  <a:gd name="csX3" fmla="*/ 28769 w 43030"/>
                  <a:gd name="csY3" fmla="*/ 55518 h 5844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43030" h="58448">
                    <a:moveTo>
                      <a:pt x="43030" y="17928"/>
                    </a:moveTo>
                    <a:cubicBezTo>
                      <a:pt x="30629" y="-5014"/>
                      <a:pt x="24041" y="-5789"/>
                      <a:pt x="9393" y="14750"/>
                    </a:cubicBezTo>
                    <a:cubicBezTo>
                      <a:pt x="-3396" y="32654"/>
                      <a:pt x="-3163" y="35987"/>
                      <a:pt x="10323" y="52496"/>
                    </a:cubicBezTo>
                    <a:cubicBezTo>
                      <a:pt x="16523" y="60091"/>
                      <a:pt x="21794" y="59626"/>
                      <a:pt x="28769" y="55518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C355EA74-9281-F705-0CD3-E1754FB5FB89}"/>
                  </a:ext>
                </a:extLst>
              </p:cNvPr>
              <p:cNvSpPr/>
              <p:nvPr/>
            </p:nvSpPr>
            <p:spPr>
              <a:xfrm>
                <a:off x="5899929" y="5851322"/>
                <a:ext cx="46736" cy="12103"/>
              </a:xfrm>
              <a:custGeom>
                <a:avLst/>
                <a:gdLst>
                  <a:gd name="csX0" fmla="*/ 0 w 46736"/>
                  <a:gd name="csY0" fmla="*/ 96 h 12103"/>
                  <a:gd name="csX1" fmla="*/ 14494 w 46736"/>
                  <a:gd name="csY1" fmla="*/ 4979 h 12103"/>
                  <a:gd name="csX2" fmla="*/ 46736 w 46736"/>
                  <a:gd name="csY2" fmla="*/ 3971 h 1210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46736" h="12103">
                    <a:moveTo>
                      <a:pt x="0" y="96"/>
                    </a:moveTo>
                    <a:cubicBezTo>
                      <a:pt x="5580" y="-447"/>
                      <a:pt x="9688" y="1336"/>
                      <a:pt x="14494" y="4979"/>
                    </a:cubicBezTo>
                    <a:cubicBezTo>
                      <a:pt x="27670" y="14977"/>
                      <a:pt x="31545" y="14279"/>
                      <a:pt x="46736" y="3971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7E521F56-CF7A-75AE-669F-EB31BB6DF728}"/>
                  </a:ext>
                </a:extLst>
              </p:cNvPr>
              <p:cNvSpPr/>
              <p:nvPr/>
            </p:nvSpPr>
            <p:spPr>
              <a:xfrm>
                <a:off x="5717014" y="5891643"/>
                <a:ext cx="27282" cy="18136"/>
              </a:xfrm>
              <a:custGeom>
                <a:avLst/>
                <a:gdLst>
                  <a:gd name="csX0" fmla="*/ 0 w 27282"/>
                  <a:gd name="csY0" fmla="*/ 0 h 18136"/>
                  <a:gd name="csX1" fmla="*/ 27282 w 27282"/>
                  <a:gd name="csY1" fmla="*/ 18136 h 1813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27282" h="18136">
                    <a:moveTo>
                      <a:pt x="0" y="0"/>
                    </a:moveTo>
                    <a:cubicBezTo>
                      <a:pt x="9611" y="5270"/>
                      <a:pt x="16974" y="13951"/>
                      <a:pt x="27282" y="18136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</p:grp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2BBB7456-6BC3-2F73-C6A7-2658D193D93A}"/>
                </a:ext>
              </a:extLst>
            </p:cNvPr>
            <p:cNvSpPr/>
            <p:nvPr/>
          </p:nvSpPr>
          <p:spPr>
            <a:xfrm>
              <a:off x="5684617" y="5506128"/>
              <a:ext cx="336376" cy="228952"/>
            </a:xfrm>
            <a:custGeom>
              <a:avLst/>
              <a:gdLst>
                <a:gd name="csX0" fmla="*/ 58517 w 336376"/>
                <a:gd name="csY0" fmla="*/ 226240 h 228952"/>
                <a:gd name="csX1" fmla="*/ 49604 w 336376"/>
                <a:gd name="csY1" fmla="*/ 205623 h 228952"/>
                <a:gd name="csX2" fmla="*/ 47899 w 336376"/>
                <a:gd name="csY2" fmla="*/ 200043 h 228952"/>
                <a:gd name="csX3" fmla="*/ 1085 w 336376"/>
                <a:gd name="csY3" fmla="*/ 193377 h 228952"/>
                <a:gd name="csX4" fmla="*/ 0 w 336376"/>
                <a:gd name="csY4" fmla="*/ 143231 h 228952"/>
                <a:gd name="csX5" fmla="*/ 48441 w 336376"/>
                <a:gd name="csY5" fmla="*/ 135403 h 228952"/>
                <a:gd name="csX6" fmla="*/ 50146 w 336376"/>
                <a:gd name="csY6" fmla="*/ 130365 h 228952"/>
                <a:gd name="csX7" fmla="*/ 58517 w 336376"/>
                <a:gd name="csY7" fmla="*/ 110911 h 228952"/>
                <a:gd name="csX8" fmla="*/ 61307 w 336376"/>
                <a:gd name="csY8" fmla="*/ 105873 h 228952"/>
                <a:gd name="csX9" fmla="*/ 57975 w 336376"/>
                <a:gd name="csY9" fmla="*/ 101455 h 228952"/>
                <a:gd name="csX10" fmla="*/ 33483 w 336376"/>
                <a:gd name="csY10" fmla="*/ 69135 h 228952"/>
                <a:gd name="csX11" fmla="*/ 55184 w 336376"/>
                <a:gd name="csY11" fmla="*/ 45729 h 228952"/>
                <a:gd name="csX12" fmla="*/ 71306 w 336376"/>
                <a:gd name="csY12" fmla="*/ 32397 h 228952"/>
                <a:gd name="csX13" fmla="*/ 106958 w 336376"/>
                <a:gd name="csY13" fmla="*/ 60222 h 228952"/>
                <a:gd name="csX14" fmla="*/ 111996 w 336376"/>
                <a:gd name="csY14" fmla="*/ 57432 h 228952"/>
                <a:gd name="csX15" fmla="*/ 131450 w 336376"/>
                <a:gd name="csY15" fmla="*/ 49061 h 228952"/>
                <a:gd name="csX16" fmla="*/ 137031 w 336376"/>
                <a:gd name="csY16" fmla="*/ 47356 h 228952"/>
                <a:gd name="csX17" fmla="*/ 137573 w 336376"/>
                <a:gd name="csY17" fmla="*/ 41776 h 228952"/>
                <a:gd name="csX18" fmla="*/ 143696 w 336376"/>
                <a:gd name="csY18" fmla="*/ 543 h 228952"/>
                <a:gd name="csX19" fmla="*/ 193843 w 336376"/>
                <a:gd name="csY19" fmla="*/ 0 h 228952"/>
                <a:gd name="csX20" fmla="*/ 201051 w 336376"/>
                <a:gd name="csY20" fmla="*/ 47356 h 228952"/>
                <a:gd name="csX21" fmla="*/ 206089 w 336376"/>
                <a:gd name="csY21" fmla="*/ 49061 h 228952"/>
                <a:gd name="csX22" fmla="*/ 225543 w 336376"/>
                <a:gd name="csY22" fmla="*/ 56889 h 228952"/>
                <a:gd name="csX23" fmla="*/ 230581 w 336376"/>
                <a:gd name="csY23" fmla="*/ 59137 h 228952"/>
                <a:gd name="csX24" fmla="*/ 267318 w 336376"/>
                <a:gd name="csY24" fmla="*/ 31312 h 228952"/>
                <a:gd name="csX25" fmla="*/ 303514 w 336376"/>
                <a:gd name="csY25" fmla="*/ 69213 h 228952"/>
                <a:gd name="csX26" fmla="*/ 292353 w 336376"/>
                <a:gd name="csY26" fmla="*/ 84249 h 228952"/>
                <a:gd name="csX27" fmla="*/ 279564 w 336376"/>
                <a:gd name="csY27" fmla="*/ 100370 h 228952"/>
                <a:gd name="csX28" fmla="*/ 276232 w 336376"/>
                <a:gd name="csY28" fmla="*/ 104788 h 228952"/>
                <a:gd name="csX29" fmla="*/ 278479 w 336376"/>
                <a:gd name="csY29" fmla="*/ 109826 h 228952"/>
                <a:gd name="csX30" fmla="*/ 287393 w 336376"/>
                <a:gd name="csY30" fmla="*/ 130985 h 228952"/>
                <a:gd name="csX31" fmla="*/ 289098 w 336376"/>
                <a:gd name="csY31" fmla="*/ 136023 h 228952"/>
                <a:gd name="csX32" fmla="*/ 335291 w 336376"/>
                <a:gd name="csY32" fmla="*/ 142688 h 228952"/>
                <a:gd name="csX33" fmla="*/ 336376 w 336376"/>
                <a:gd name="csY33" fmla="*/ 192835 h 228952"/>
                <a:gd name="csX34" fmla="*/ 289020 w 336376"/>
                <a:gd name="csY34" fmla="*/ 200043 h 228952"/>
                <a:gd name="csX35" fmla="*/ 287315 w 336376"/>
                <a:gd name="csY35" fmla="*/ 205081 h 228952"/>
                <a:gd name="csX36" fmla="*/ 278944 w 336376"/>
                <a:gd name="csY36" fmla="*/ 224535 h 228952"/>
                <a:gd name="csX37" fmla="*/ 276154 w 336376"/>
                <a:gd name="csY37" fmla="*/ 228953 h 22895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</a:cxnLst>
              <a:rect l="l" t="t" r="r" b="b"/>
              <a:pathLst>
                <a:path w="336376" h="228952">
                  <a:moveTo>
                    <a:pt x="58517" y="226240"/>
                  </a:moveTo>
                  <a:cubicBezTo>
                    <a:pt x="54642" y="219032"/>
                    <a:pt x="51852" y="212289"/>
                    <a:pt x="49604" y="205623"/>
                  </a:cubicBezTo>
                  <a:lnTo>
                    <a:pt x="47899" y="200043"/>
                  </a:lnTo>
                  <a:lnTo>
                    <a:pt x="1085" y="193377"/>
                  </a:lnTo>
                  <a:lnTo>
                    <a:pt x="0" y="143231"/>
                  </a:lnTo>
                  <a:lnTo>
                    <a:pt x="48441" y="135403"/>
                  </a:lnTo>
                  <a:lnTo>
                    <a:pt x="50146" y="130365"/>
                  </a:lnTo>
                  <a:cubicBezTo>
                    <a:pt x="52394" y="123699"/>
                    <a:pt x="54564" y="117577"/>
                    <a:pt x="58517" y="110911"/>
                  </a:cubicBezTo>
                  <a:lnTo>
                    <a:pt x="61307" y="105873"/>
                  </a:lnTo>
                  <a:lnTo>
                    <a:pt x="57975" y="101455"/>
                  </a:lnTo>
                  <a:cubicBezTo>
                    <a:pt x="51852" y="92542"/>
                    <a:pt x="43481" y="82001"/>
                    <a:pt x="33483" y="69135"/>
                  </a:cubicBezTo>
                  <a:cubicBezTo>
                    <a:pt x="37358" y="64097"/>
                    <a:pt x="44644" y="56347"/>
                    <a:pt x="55184" y="45729"/>
                  </a:cubicBezTo>
                  <a:cubicBezTo>
                    <a:pt x="67430" y="33483"/>
                    <a:pt x="71306" y="31777"/>
                    <a:pt x="71306" y="32397"/>
                  </a:cubicBezTo>
                  <a:lnTo>
                    <a:pt x="106958" y="60222"/>
                  </a:lnTo>
                  <a:lnTo>
                    <a:pt x="111996" y="57432"/>
                  </a:lnTo>
                  <a:cubicBezTo>
                    <a:pt x="118119" y="54099"/>
                    <a:pt x="124785" y="51309"/>
                    <a:pt x="131450" y="49061"/>
                  </a:cubicBezTo>
                  <a:lnTo>
                    <a:pt x="137031" y="47356"/>
                  </a:lnTo>
                  <a:lnTo>
                    <a:pt x="137573" y="41776"/>
                  </a:lnTo>
                  <a:cubicBezTo>
                    <a:pt x="139821" y="21702"/>
                    <a:pt x="141991" y="7828"/>
                    <a:pt x="143696" y="543"/>
                  </a:cubicBezTo>
                  <a:lnTo>
                    <a:pt x="193843" y="0"/>
                  </a:lnTo>
                  <a:lnTo>
                    <a:pt x="201051" y="47356"/>
                  </a:lnTo>
                  <a:lnTo>
                    <a:pt x="206089" y="49061"/>
                  </a:lnTo>
                  <a:cubicBezTo>
                    <a:pt x="213297" y="51309"/>
                    <a:pt x="219420" y="54099"/>
                    <a:pt x="225543" y="56889"/>
                  </a:cubicBezTo>
                  <a:lnTo>
                    <a:pt x="230581" y="59137"/>
                  </a:lnTo>
                  <a:lnTo>
                    <a:pt x="267318" y="31312"/>
                  </a:lnTo>
                  <a:cubicBezTo>
                    <a:pt x="286230" y="49139"/>
                    <a:pt x="298476" y="61385"/>
                    <a:pt x="303514" y="69213"/>
                  </a:cubicBezTo>
                  <a:cubicBezTo>
                    <a:pt x="301266" y="72546"/>
                    <a:pt x="297391" y="77583"/>
                    <a:pt x="292353" y="84249"/>
                  </a:cubicBezTo>
                  <a:cubicBezTo>
                    <a:pt x="286773" y="91457"/>
                    <a:pt x="282355" y="96495"/>
                    <a:pt x="279564" y="100370"/>
                  </a:cubicBezTo>
                  <a:lnTo>
                    <a:pt x="276232" y="104788"/>
                  </a:lnTo>
                  <a:lnTo>
                    <a:pt x="278479" y="109826"/>
                  </a:lnTo>
                  <a:cubicBezTo>
                    <a:pt x="282355" y="117034"/>
                    <a:pt x="285145" y="123777"/>
                    <a:pt x="287393" y="130985"/>
                  </a:cubicBezTo>
                  <a:lnTo>
                    <a:pt x="289098" y="136023"/>
                  </a:lnTo>
                  <a:lnTo>
                    <a:pt x="335291" y="142688"/>
                  </a:lnTo>
                  <a:lnTo>
                    <a:pt x="336376" y="192835"/>
                  </a:lnTo>
                  <a:lnTo>
                    <a:pt x="289020" y="200043"/>
                  </a:lnTo>
                  <a:lnTo>
                    <a:pt x="287315" y="205081"/>
                  </a:lnTo>
                  <a:cubicBezTo>
                    <a:pt x="284525" y="212909"/>
                    <a:pt x="281735" y="219574"/>
                    <a:pt x="278944" y="224535"/>
                  </a:cubicBezTo>
                  <a:lnTo>
                    <a:pt x="276154" y="228953"/>
                  </a:lnTo>
                </a:path>
              </a:pathLst>
            </a:custGeom>
            <a:noFill/>
            <a:ln w="12700" cap="flat">
              <a:solidFill>
                <a:srgbClr val="A6A6A6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C5638A32-2FF6-EB3B-3DB2-3A07FBDB7A74}"/>
              </a:ext>
            </a:extLst>
          </p:cNvPr>
          <p:cNvGrpSpPr/>
          <p:nvPr/>
        </p:nvGrpSpPr>
        <p:grpSpPr>
          <a:xfrm>
            <a:off x="8834152" y="2605352"/>
            <a:ext cx="440626" cy="441388"/>
            <a:chOff x="8834152" y="2605352"/>
            <a:chExt cx="440626" cy="441388"/>
          </a:xfrm>
        </p:grpSpPr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38ACB491-D61D-38E1-367D-C9878409FA7D}"/>
                </a:ext>
              </a:extLst>
            </p:cNvPr>
            <p:cNvSpPr/>
            <p:nvPr/>
          </p:nvSpPr>
          <p:spPr>
            <a:xfrm>
              <a:off x="8834152" y="2842239"/>
              <a:ext cx="87915" cy="204501"/>
            </a:xfrm>
            <a:prstGeom prst="rect">
              <a:avLst/>
            </a:pr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F614CEB6-286D-BBFB-1FE0-34F3A0EDAED8}"/>
                </a:ext>
              </a:extLst>
            </p:cNvPr>
            <p:cNvSpPr/>
            <p:nvPr/>
          </p:nvSpPr>
          <p:spPr>
            <a:xfrm>
              <a:off x="9064562" y="2605352"/>
              <a:ext cx="210216" cy="282892"/>
            </a:xfrm>
            <a:prstGeom prst="rect">
              <a:avLst/>
            </a:pr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8B788C62-07D7-73DE-5A89-EC84D3BB8796}"/>
                </a:ext>
              </a:extLst>
            </p:cNvPr>
            <p:cNvSpPr/>
            <p:nvPr/>
          </p:nvSpPr>
          <p:spPr>
            <a:xfrm>
              <a:off x="8950165" y="2647643"/>
              <a:ext cx="76487" cy="194690"/>
            </a:xfrm>
            <a:custGeom>
              <a:avLst/>
              <a:gdLst>
                <a:gd name="csX0" fmla="*/ 76488 w 76487"/>
                <a:gd name="csY0" fmla="*/ 0 h 194690"/>
                <a:gd name="csX1" fmla="*/ 13527 w 76487"/>
                <a:gd name="csY1" fmla="*/ 36481 h 194690"/>
                <a:gd name="csX2" fmla="*/ 3526 w 76487"/>
                <a:gd name="csY2" fmla="*/ 73247 h 194690"/>
                <a:gd name="csX3" fmla="*/ 71916 w 76487"/>
                <a:gd name="csY3" fmla="*/ 194691 h 19469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</a:cxnLst>
              <a:rect l="l" t="t" r="r" b="b"/>
              <a:pathLst>
                <a:path w="76487" h="194690">
                  <a:moveTo>
                    <a:pt x="76488" y="0"/>
                  </a:moveTo>
                  <a:lnTo>
                    <a:pt x="13527" y="36481"/>
                  </a:lnTo>
                  <a:cubicBezTo>
                    <a:pt x="669" y="43910"/>
                    <a:pt x="-3808" y="60293"/>
                    <a:pt x="3526" y="73247"/>
                  </a:cubicBezTo>
                  <a:lnTo>
                    <a:pt x="71916" y="194691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41114659-FEFB-91D4-6215-9BBAA22E0637}"/>
                </a:ext>
              </a:extLst>
            </p:cNvPr>
            <p:cNvSpPr/>
            <p:nvPr/>
          </p:nvSpPr>
          <p:spPr>
            <a:xfrm>
              <a:off x="9121998" y="2797471"/>
              <a:ext cx="103346" cy="9525"/>
            </a:xfrm>
            <a:custGeom>
              <a:avLst/>
              <a:gdLst>
                <a:gd name="csX0" fmla="*/ 0 w 103346"/>
                <a:gd name="csY0" fmla="*/ 0 h 9525"/>
                <a:gd name="csX1" fmla="*/ 103346 w 103346"/>
                <a:gd name="csY1" fmla="*/ 0 h 95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03346" h="9525">
                  <a:moveTo>
                    <a:pt x="0" y="0"/>
                  </a:moveTo>
                  <a:lnTo>
                    <a:pt x="103346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57C3F843-E46F-A0A6-EC07-8AFA094867E2}"/>
                </a:ext>
              </a:extLst>
            </p:cNvPr>
            <p:cNvSpPr/>
            <p:nvPr/>
          </p:nvSpPr>
          <p:spPr>
            <a:xfrm>
              <a:off x="9121998" y="2835381"/>
              <a:ext cx="66579" cy="9525"/>
            </a:xfrm>
            <a:custGeom>
              <a:avLst/>
              <a:gdLst>
                <a:gd name="csX0" fmla="*/ 0 w 66579"/>
                <a:gd name="csY0" fmla="*/ 0 h 9525"/>
                <a:gd name="csX1" fmla="*/ 66580 w 66579"/>
                <a:gd name="csY1" fmla="*/ 0 h 95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66579" h="9525">
                  <a:moveTo>
                    <a:pt x="0" y="0"/>
                  </a:moveTo>
                  <a:lnTo>
                    <a:pt x="6658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01337B7-DD44-01E5-3BFD-D95B220BE732}"/>
                </a:ext>
              </a:extLst>
            </p:cNvPr>
            <p:cNvSpPr/>
            <p:nvPr/>
          </p:nvSpPr>
          <p:spPr>
            <a:xfrm>
              <a:off x="9223820" y="2835381"/>
              <a:ext cx="1523" cy="9525"/>
            </a:xfrm>
            <a:custGeom>
              <a:avLst/>
              <a:gdLst>
                <a:gd name="csX0" fmla="*/ 0 w 1523"/>
                <a:gd name="csY0" fmla="*/ 0 h 9525"/>
                <a:gd name="csX1" fmla="*/ 0 w 1523"/>
                <a:gd name="csY1" fmla="*/ 0 h 9525"/>
                <a:gd name="csX2" fmla="*/ 1524 w 1523"/>
                <a:gd name="csY2" fmla="*/ 0 h 95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1523" h="9525">
                  <a:moveTo>
                    <a:pt x="0" y="0"/>
                  </a:moveTo>
                  <a:lnTo>
                    <a:pt x="0" y="0"/>
                  </a:lnTo>
                  <a:lnTo>
                    <a:pt x="1524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CA53C3FA-8FF8-5022-DE5D-3ACD17FAB4CF}"/>
                </a:ext>
              </a:extLst>
            </p:cNvPr>
            <p:cNvSpPr/>
            <p:nvPr/>
          </p:nvSpPr>
          <p:spPr>
            <a:xfrm>
              <a:off x="9110949" y="2643071"/>
              <a:ext cx="114490" cy="114490"/>
            </a:xfrm>
            <a:prstGeom prst="ellipse">
              <a:avLst/>
            </a:pr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74F50C85-DA91-3990-5E59-6F206E401D9D}"/>
                </a:ext>
              </a:extLst>
            </p:cNvPr>
            <p:cNvSpPr/>
            <p:nvPr/>
          </p:nvSpPr>
          <p:spPr>
            <a:xfrm>
              <a:off x="9128284" y="2713270"/>
              <a:ext cx="82296" cy="28003"/>
            </a:xfrm>
            <a:custGeom>
              <a:avLst/>
              <a:gdLst>
                <a:gd name="csX0" fmla="*/ 82296 w 82296"/>
                <a:gd name="csY0" fmla="*/ 25432 h 28003"/>
                <a:gd name="csX1" fmla="*/ 41815 w 82296"/>
                <a:gd name="csY1" fmla="*/ 0 h 28003"/>
                <a:gd name="csX2" fmla="*/ 41719 w 82296"/>
                <a:gd name="csY2" fmla="*/ 0 h 28003"/>
                <a:gd name="csX3" fmla="*/ 0 w 82296"/>
                <a:gd name="csY3" fmla="*/ 28004 h 2800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</a:cxnLst>
              <a:rect l="l" t="t" r="r" b="b"/>
              <a:pathLst>
                <a:path w="82296" h="28003">
                  <a:moveTo>
                    <a:pt x="82296" y="25432"/>
                  </a:moveTo>
                  <a:cubicBezTo>
                    <a:pt x="74962" y="10382"/>
                    <a:pt x="59627" y="0"/>
                    <a:pt x="41815" y="0"/>
                  </a:cubicBezTo>
                  <a:lnTo>
                    <a:pt x="41719" y="0"/>
                  </a:lnTo>
                  <a:cubicBezTo>
                    <a:pt x="22860" y="0"/>
                    <a:pt x="6763" y="11621"/>
                    <a:pt x="0" y="28004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A6ED675D-B7FE-AD82-83F8-5B9C4DAA496E}"/>
                </a:ext>
              </a:extLst>
            </p:cNvPr>
            <p:cNvSpPr/>
            <p:nvPr/>
          </p:nvSpPr>
          <p:spPr>
            <a:xfrm>
              <a:off x="9151525" y="2676218"/>
              <a:ext cx="37147" cy="37147"/>
            </a:xfrm>
            <a:prstGeom prst="ellipse">
              <a:avLst/>
            </a:pr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B0F5168D-036E-62FD-1734-7F4B28D1B56C}"/>
                </a:ext>
              </a:extLst>
            </p:cNvPr>
            <p:cNvSpPr/>
            <p:nvPr/>
          </p:nvSpPr>
          <p:spPr>
            <a:xfrm>
              <a:off x="8922068" y="2877862"/>
              <a:ext cx="229647" cy="114871"/>
            </a:xfrm>
            <a:custGeom>
              <a:avLst/>
              <a:gdLst>
                <a:gd name="csX0" fmla="*/ 0 w 229647"/>
                <a:gd name="csY0" fmla="*/ 0 h 114871"/>
                <a:gd name="csX1" fmla="*/ 87344 w 229647"/>
                <a:gd name="csY1" fmla="*/ 0 h 114871"/>
                <a:gd name="csX2" fmla="*/ 107442 w 229647"/>
                <a:gd name="csY2" fmla="*/ 8287 h 114871"/>
                <a:gd name="csX3" fmla="*/ 163259 w 229647"/>
                <a:gd name="csY3" fmla="*/ 64103 h 114871"/>
                <a:gd name="csX4" fmla="*/ 183356 w 229647"/>
                <a:gd name="csY4" fmla="*/ 72390 h 114871"/>
                <a:gd name="csX5" fmla="*/ 208407 w 229647"/>
                <a:gd name="csY5" fmla="*/ 72390 h 114871"/>
                <a:gd name="csX6" fmla="*/ 229648 w 229647"/>
                <a:gd name="csY6" fmla="*/ 93631 h 114871"/>
                <a:gd name="csX7" fmla="*/ 229648 w 229647"/>
                <a:gd name="csY7" fmla="*/ 93631 h 114871"/>
                <a:gd name="csX8" fmla="*/ 208407 w 229647"/>
                <a:gd name="csY8" fmla="*/ 114871 h 114871"/>
                <a:gd name="csX9" fmla="*/ 149257 w 229647"/>
                <a:gd name="csY9" fmla="*/ 114871 h 114871"/>
                <a:gd name="csX10" fmla="*/ 136779 w 229647"/>
                <a:gd name="csY10" fmla="*/ 111919 h 114871"/>
                <a:gd name="csX11" fmla="*/ 93536 w 229647"/>
                <a:gd name="csY11" fmla="*/ 90678 h 11487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29647" h="114871">
                  <a:moveTo>
                    <a:pt x="0" y="0"/>
                  </a:moveTo>
                  <a:lnTo>
                    <a:pt x="87344" y="0"/>
                  </a:lnTo>
                  <a:cubicBezTo>
                    <a:pt x="94869" y="0"/>
                    <a:pt x="102108" y="2953"/>
                    <a:pt x="107442" y="8287"/>
                  </a:cubicBezTo>
                  <a:lnTo>
                    <a:pt x="163259" y="64103"/>
                  </a:lnTo>
                  <a:cubicBezTo>
                    <a:pt x="168593" y="69437"/>
                    <a:pt x="175832" y="72390"/>
                    <a:pt x="183356" y="72390"/>
                  </a:cubicBezTo>
                  <a:lnTo>
                    <a:pt x="208407" y="72390"/>
                  </a:lnTo>
                  <a:cubicBezTo>
                    <a:pt x="220123" y="72390"/>
                    <a:pt x="229648" y="81915"/>
                    <a:pt x="229648" y="93631"/>
                  </a:cubicBezTo>
                  <a:lnTo>
                    <a:pt x="229648" y="93631"/>
                  </a:lnTo>
                  <a:cubicBezTo>
                    <a:pt x="229648" y="105346"/>
                    <a:pt x="220123" y="114871"/>
                    <a:pt x="208407" y="114871"/>
                  </a:cubicBezTo>
                  <a:lnTo>
                    <a:pt x="149257" y="114871"/>
                  </a:lnTo>
                  <a:cubicBezTo>
                    <a:pt x="144875" y="114871"/>
                    <a:pt x="140684" y="113919"/>
                    <a:pt x="136779" y="111919"/>
                  </a:cubicBezTo>
                  <a:lnTo>
                    <a:pt x="93536" y="90678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9C72DF95-F7A9-484B-19DD-0F8745F0E962}"/>
                </a:ext>
              </a:extLst>
            </p:cNvPr>
            <p:cNvSpPr/>
            <p:nvPr/>
          </p:nvSpPr>
          <p:spPr>
            <a:xfrm>
              <a:off x="8922068" y="2945235"/>
              <a:ext cx="351393" cy="101505"/>
            </a:xfrm>
            <a:custGeom>
              <a:avLst/>
              <a:gdLst>
                <a:gd name="csX0" fmla="*/ 0 w 351393"/>
                <a:gd name="csY0" fmla="*/ 55595 h 101505"/>
                <a:gd name="csX1" fmla="*/ 73438 w 351393"/>
                <a:gd name="csY1" fmla="*/ 97981 h 101505"/>
                <a:gd name="csX2" fmla="*/ 86678 w 351393"/>
                <a:gd name="csY2" fmla="*/ 101505 h 101505"/>
                <a:gd name="csX3" fmla="*/ 243745 w 351393"/>
                <a:gd name="csY3" fmla="*/ 101505 h 101505"/>
                <a:gd name="csX4" fmla="*/ 307658 w 351393"/>
                <a:gd name="csY4" fmla="*/ 76264 h 101505"/>
                <a:gd name="csX5" fmla="*/ 343567 w 351393"/>
                <a:gd name="csY5" fmla="*/ 42641 h 101505"/>
                <a:gd name="csX6" fmla="*/ 345758 w 351393"/>
                <a:gd name="csY6" fmla="*/ 8922 h 101505"/>
                <a:gd name="csX7" fmla="*/ 345758 w 351393"/>
                <a:gd name="csY7" fmla="*/ 8922 h 101505"/>
                <a:gd name="csX8" fmla="*/ 311182 w 351393"/>
                <a:gd name="csY8" fmla="*/ 5588 h 101505"/>
                <a:gd name="csX9" fmla="*/ 262319 w 351393"/>
                <a:gd name="csY9" fmla="*/ 45689 h 10150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351393" h="101505">
                  <a:moveTo>
                    <a:pt x="0" y="55595"/>
                  </a:moveTo>
                  <a:lnTo>
                    <a:pt x="73438" y="97981"/>
                  </a:lnTo>
                  <a:cubicBezTo>
                    <a:pt x="77438" y="100267"/>
                    <a:pt x="82010" y="101505"/>
                    <a:pt x="86678" y="101505"/>
                  </a:cubicBezTo>
                  <a:lnTo>
                    <a:pt x="243745" y="101505"/>
                  </a:lnTo>
                  <a:cubicBezTo>
                    <a:pt x="267462" y="101505"/>
                    <a:pt x="290322" y="92456"/>
                    <a:pt x="307658" y="76264"/>
                  </a:cubicBezTo>
                  <a:lnTo>
                    <a:pt x="343567" y="42641"/>
                  </a:lnTo>
                  <a:cubicBezTo>
                    <a:pt x="353092" y="33782"/>
                    <a:pt x="354044" y="18923"/>
                    <a:pt x="345758" y="8922"/>
                  </a:cubicBezTo>
                  <a:lnTo>
                    <a:pt x="345758" y="8922"/>
                  </a:lnTo>
                  <a:cubicBezTo>
                    <a:pt x="337090" y="-1555"/>
                    <a:pt x="321659" y="-2984"/>
                    <a:pt x="311182" y="5588"/>
                  </a:cubicBezTo>
                  <a:lnTo>
                    <a:pt x="262319" y="45689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7D277B24-13E2-8318-277E-24E81C2C719E}"/>
                </a:ext>
              </a:extLst>
            </p:cNvPr>
            <p:cNvSpPr/>
            <p:nvPr/>
          </p:nvSpPr>
          <p:spPr>
            <a:xfrm>
              <a:off x="9085231" y="2888245"/>
              <a:ext cx="84391" cy="53721"/>
            </a:xfrm>
            <a:custGeom>
              <a:avLst/>
              <a:gdLst>
                <a:gd name="csX0" fmla="*/ 84392 w 84391"/>
                <a:gd name="csY0" fmla="*/ 0 h 53721"/>
                <a:gd name="csX1" fmla="*/ 0 w 84391"/>
                <a:gd name="csY1" fmla="*/ 53721 h 5372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84391" h="53721">
                  <a:moveTo>
                    <a:pt x="84392" y="0"/>
                  </a:moveTo>
                  <a:lnTo>
                    <a:pt x="0" y="53721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AFA0098D-A679-531A-1952-823470255248}"/>
              </a:ext>
            </a:extLst>
          </p:cNvPr>
          <p:cNvGrpSpPr/>
          <p:nvPr/>
        </p:nvGrpSpPr>
        <p:grpSpPr>
          <a:xfrm>
            <a:off x="8905589" y="4074456"/>
            <a:ext cx="296798" cy="424434"/>
            <a:chOff x="8905589" y="4074456"/>
            <a:chExt cx="296798" cy="424434"/>
          </a:xfrm>
        </p:grpSpPr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A0F08F4D-53F9-8B4D-1B85-AD3B21E146ED}"/>
                </a:ext>
              </a:extLst>
            </p:cNvPr>
            <p:cNvSpPr/>
            <p:nvPr/>
          </p:nvSpPr>
          <p:spPr>
            <a:xfrm>
              <a:off x="8905589" y="4336870"/>
              <a:ext cx="296798" cy="162020"/>
            </a:xfrm>
            <a:custGeom>
              <a:avLst/>
              <a:gdLst>
                <a:gd name="csX0" fmla="*/ 274892 w 296798"/>
                <a:gd name="csY0" fmla="*/ 144494 h 162020"/>
                <a:gd name="csX1" fmla="*/ 257461 w 296798"/>
                <a:gd name="csY1" fmla="*/ 162020 h 162020"/>
                <a:gd name="csX2" fmla="*/ 39434 w 296798"/>
                <a:gd name="csY2" fmla="*/ 162020 h 162020"/>
                <a:gd name="csX3" fmla="*/ 22003 w 296798"/>
                <a:gd name="csY3" fmla="*/ 144494 h 162020"/>
                <a:gd name="csX4" fmla="*/ 0 w 296798"/>
                <a:gd name="csY4" fmla="*/ 17526 h 162020"/>
                <a:gd name="csX5" fmla="*/ 17431 w 296798"/>
                <a:gd name="csY5" fmla="*/ 0 h 162020"/>
                <a:gd name="csX6" fmla="*/ 279368 w 296798"/>
                <a:gd name="csY6" fmla="*/ 0 h 162020"/>
                <a:gd name="csX7" fmla="*/ 296799 w 296798"/>
                <a:gd name="csY7" fmla="*/ 17526 h 162020"/>
                <a:gd name="csX8" fmla="*/ 274796 w 296798"/>
                <a:gd name="csY8" fmla="*/ 144494 h 162020"/>
                <a:gd name="csX9" fmla="*/ 274796 w 296798"/>
                <a:gd name="csY9" fmla="*/ 144494 h 16202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296798" h="162020">
                  <a:moveTo>
                    <a:pt x="274892" y="144494"/>
                  </a:moveTo>
                  <a:cubicBezTo>
                    <a:pt x="274892" y="154115"/>
                    <a:pt x="267081" y="162020"/>
                    <a:pt x="257461" y="162020"/>
                  </a:cubicBezTo>
                  <a:lnTo>
                    <a:pt x="39434" y="162020"/>
                  </a:lnTo>
                  <a:cubicBezTo>
                    <a:pt x="29813" y="162020"/>
                    <a:pt x="22003" y="154210"/>
                    <a:pt x="22003" y="144494"/>
                  </a:cubicBezTo>
                  <a:cubicBezTo>
                    <a:pt x="7334" y="59848"/>
                    <a:pt x="0" y="17526"/>
                    <a:pt x="0" y="17526"/>
                  </a:cubicBezTo>
                  <a:cubicBezTo>
                    <a:pt x="0" y="7906"/>
                    <a:pt x="7811" y="0"/>
                    <a:pt x="17431" y="0"/>
                  </a:cubicBezTo>
                  <a:lnTo>
                    <a:pt x="279368" y="0"/>
                  </a:lnTo>
                  <a:cubicBezTo>
                    <a:pt x="288989" y="0"/>
                    <a:pt x="296799" y="7810"/>
                    <a:pt x="296799" y="17526"/>
                  </a:cubicBezTo>
                  <a:lnTo>
                    <a:pt x="274796" y="144494"/>
                  </a:lnTo>
                  <a:lnTo>
                    <a:pt x="274796" y="144494"/>
                  </a:ln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grpSp>
          <p:nvGrpSpPr>
            <p:cNvPr id="171" name="Graphic 131">
              <a:extLst>
                <a:ext uri="{FF2B5EF4-FFF2-40B4-BE49-F238E27FC236}">
                  <a16:creationId xmlns:a16="http://schemas.microsoft.com/office/drawing/2014/main" id="{5C468BD6-767A-9E03-0B47-782790BCD768}"/>
                </a:ext>
              </a:extLst>
            </p:cNvPr>
            <p:cNvGrpSpPr/>
            <p:nvPr/>
          </p:nvGrpSpPr>
          <p:grpSpPr>
            <a:xfrm>
              <a:off x="8931402" y="4074456"/>
              <a:ext cx="243935" cy="262508"/>
              <a:chOff x="8931402" y="4074456"/>
              <a:chExt cx="243935" cy="262508"/>
            </a:xfrm>
            <a:noFill/>
          </p:grpSpPr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F389A792-D1F9-D7F3-4A6D-F4A956384EE0}"/>
                  </a:ext>
                </a:extLst>
              </p:cNvPr>
              <p:cNvSpPr/>
              <p:nvPr/>
            </p:nvSpPr>
            <p:spPr>
              <a:xfrm>
                <a:off x="8931402" y="4300866"/>
                <a:ext cx="243935" cy="36099"/>
              </a:xfrm>
              <a:custGeom>
                <a:avLst/>
                <a:gdLst>
                  <a:gd name="csX0" fmla="*/ 0 w 243935"/>
                  <a:gd name="csY0" fmla="*/ 36100 h 36099"/>
                  <a:gd name="csX1" fmla="*/ 33147 w 243935"/>
                  <a:gd name="csY1" fmla="*/ 5905 h 36099"/>
                  <a:gd name="csX2" fmla="*/ 78296 w 243935"/>
                  <a:gd name="csY2" fmla="*/ 0 h 36099"/>
                  <a:gd name="csX3" fmla="*/ 120968 w 243935"/>
                  <a:gd name="csY3" fmla="*/ 34862 h 36099"/>
                  <a:gd name="csX4" fmla="*/ 164592 w 243935"/>
                  <a:gd name="csY4" fmla="*/ 0 h 36099"/>
                  <a:gd name="csX5" fmla="*/ 243935 w 243935"/>
                  <a:gd name="csY5" fmla="*/ 36100 h 3609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</a:cxnLst>
                <a:rect l="l" t="t" r="r" b="b"/>
                <a:pathLst>
                  <a:path w="243935" h="36099">
                    <a:moveTo>
                      <a:pt x="0" y="36100"/>
                    </a:moveTo>
                    <a:cubicBezTo>
                      <a:pt x="7525" y="22288"/>
                      <a:pt x="18098" y="10668"/>
                      <a:pt x="33147" y="5905"/>
                    </a:cubicBezTo>
                    <a:cubicBezTo>
                      <a:pt x="61627" y="1048"/>
                      <a:pt x="78296" y="0"/>
                      <a:pt x="78296" y="0"/>
                    </a:cubicBezTo>
                    <a:lnTo>
                      <a:pt x="120968" y="34862"/>
                    </a:lnTo>
                    <a:lnTo>
                      <a:pt x="164592" y="0"/>
                    </a:lnTo>
                    <a:cubicBezTo>
                      <a:pt x="164592" y="0"/>
                      <a:pt x="222314" y="4477"/>
                      <a:pt x="243935" y="36100"/>
                    </a:cubicBez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1178EAB1-3EA5-421C-482F-06B1BF8B81E4}"/>
                  </a:ext>
                </a:extLst>
              </p:cNvPr>
              <p:cNvSpPr/>
              <p:nvPr/>
            </p:nvSpPr>
            <p:spPr>
              <a:xfrm>
                <a:off x="8944165" y="4074456"/>
                <a:ext cx="210407" cy="102393"/>
              </a:xfrm>
              <a:custGeom>
                <a:avLst/>
                <a:gdLst>
                  <a:gd name="csX0" fmla="*/ 172307 w 210407"/>
                  <a:gd name="csY0" fmla="*/ 91726 h 102393"/>
                  <a:gd name="csX1" fmla="*/ 44482 w 210407"/>
                  <a:gd name="csY1" fmla="*/ 91726 h 102393"/>
                  <a:gd name="csX2" fmla="*/ 44482 w 210407"/>
                  <a:gd name="csY2" fmla="*/ 47244 h 102393"/>
                  <a:gd name="csX3" fmla="*/ 0 w 210407"/>
                  <a:gd name="csY3" fmla="*/ 34671 h 102393"/>
                  <a:gd name="csX4" fmla="*/ 108109 w 210407"/>
                  <a:gd name="csY4" fmla="*/ 0 h 102393"/>
                  <a:gd name="csX5" fmla="*/ 210407 w 210407"/>
                  <a:gd name="csY5" fmla="*/ 29909 h 102393"/>
                  <a:gd name="csX6" fmla="*/ 173450 w 210407"/>
                  <a:gd name="csY6" fmla="*/ 44482 h 102393"/>
                  <a:gd name="csX7" fmla="*/ 172307 w 210407"/>
                  <a:gd name="csY7" fmla="*/ 91726 h 10239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210407" h="102393">
                    <a:moveTo>
                      <a:pt x="172307" y="91726"/>
                    </a:moveTo>
                    <a:cubicBezTo>
                      <a:pt x="172307" y="91726"/>
                      <a:pt x="103061" y="115729"/>
                      <a:pt x="44482" y="91726"/>
                    </a:cubicBezTo>
                    <a:cubicBezTo>
                      <a:pt x="43339" y="58293"/>
                      <a:pt x="44482" y="47244"/>
                      <a:pt x="44482" y="47244"/>
                    </a:cubicBezTo>
                    <a:lnTo>
                      <a:pt x="0" y="34671"/>
                    </a:lnTo>
                    <a:lnTo>
                      <a:pt x="108109" y="0"/>
                    </a:lnTo>
                    <a:lnTo>
                      <a:pt x="210407" y="29909"/>
                    </a:lnTo>
                    <a:lnTo>
                      <a:pt x="173450" y="44482"/>
                    </a:lnTo>
                    <a:lnTo>
                      <a:pt x="172307" y="91726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5A61B377-5D52-A433-B65F-F4621E7EB0FF}"/>
                  </a:ext>
                </a:extLst>
              </p:cNvPr>
              <p:cNvSpPr/>
              <p:nvPr/>
            </p:nvSpPr>
            <p:spPr>
              <a:xfrm>
                <a:off x="8988647" y="4118938"/>
                <a:ext cx="128968" cy="19716"/>
              </a:xfrm>
              <a:custGeom>
                <a:avLst/>
                <a:gdLst>
                  <a:gd name="csX0" fmla="*/ 0 w 128968"/>
                  <a:gd name="csY0" fmla="*/ 2762 h 19716"/>
                  <a:gd name="csX1" fmla="*/ 63627 w 128968"/>
                  <a:gd name="csY1" fmla="*/ 19717 h 19716"/>
                  <a:gd name="csX2" fmla="*/ 128969 w 128968"/>
                  <a:gd name="csY2" fmla="*/ 0 h 1971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128968" h="19716">
                    <a:moveTo>
                      <a:pt x="0" y="2762"/>
                    </a:moveTo>
                    <a:lnTo>
                      <a:pt x="63627" y="19717"/>
                    </a:lnTo>
                    <a:lnTo>
                      <a:pt x="128969" y="0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3E4C8FFC-F415-F53D-27B8-CBDEAA47BFD1}"/>
                  </a:ext>
                </a:extLst>
              </p:cNvPr>
              <p:cNvSpPr/>
              <p:nvPr/>
            </p:nvSpPr>
            <p:spPr>
              <a:xfrm>
                <a:off x="9156573" y="4105984"/>
                <a:ext cx="9525" cy="55816"/>
              </a:xfrm>
              <a:custGeom>
                <a:avLst/>
                <a:gdLst>
                  <a:gd name="csX0" fmla="*/ 0 w 9525"/>
                  <a:gd name="csY0" fmla="*/ 0 h 55816"/>
                  <a:gd name="csX1" fmla="*/ 0 w 9525"/>
                  <a:gd name="csY1" fmla="*/ 55816 h 5581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9525" h="55816">
                    <a:moveTo>
                      <a:pt x="0" y="0"/>
                    </a:moveTo>
                    <a:lnTo>
                      <a:pt x="0" y="55816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167B0105-662B-9B66-AB64-64BA2EF689BE}"/>
                  </a:ext>
                </a:extLst>
              </p:cNvPr>
              <p:cNvSpPr/>
              <p:nvPr/>
            </p:nvSpPr>
            <p:spPr>
              <a:xfrm>
                <a:off x="9145143" y="4172088"/>
                <a:ext cx="23622" cy="9525"/>
              </a:xfrm>
              <a:custGeom>
                <a:avLst/>
                <a:gdLst>
                  <a:gd name="csX0" fmla="*/ 0 w 23622"/>
                  <a:gd name="csY0" fmla="*/ 0 h 9525"/>
                  <a:gd name="csX1" fmla="*/ 23622 w 23622"/>
                  <a:gd name="csY1" fmla="*/ 0 h 952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23622" h="9525">
                    <a:moveTo>
                      <a:pt x="0" y="0"/>
                    </a:moveTo>
                    <a:lnTo>
                      <a:pt x="23622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B4BADA5E-C6EC-5307-1A6C-0B97A13EA8FD}"/>
                  </a:ext>
                </a:extLst>
              </p:cNvPr>
              <p:cNvSpPr/>
              <p:nvPr/>
            </p:nvSpPr>
            <p:spPr>
              <a:xfrm>
                <a:off x="9090565" y="4161801"/>
                <a:ext cx="42701" cy="141065"/>
              </a:xfrm>
              <a:custGeom>
                <a:avLst/>
                <a:gdLst>
                  <a:gd name="csX0" fmla="*/ 26003 w 42701"/>
                  <a:gd name="csY0" fmla="*/ 0 h 141065"/>
                  <a:gd name="csX1" fmla="*/ 26003 w 42701"/>
                  <a:gd name="csY1" fmla="*/ 24289 h 141065"/>
                  <a:gd name="csX2" fmla="*/ 29718 w 42701"/>
                  <a:gd name="csY2" fmla="*/ 68961 h 141065"/>
                  <a:gd name="csX3" fmla="*/ 0 w 42701"/>
                  <a:gd name="csY3" fmla="*/ 108299 h 141065"/>
                  <a:gd name="csX4" fmla="*/ 0 w 42701"/>
                  <a:gd name="csY4" fmla="*/ 141065 h 1410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42701" h="141065">
                    <a:moveTo>
                      <a:pt x="26003" y="0"/>
                    </a:moveTo>
                    <a:lnTo>
                      <a:pt x="26003" y="24289"/>
                    </a:lnTo>
                    <a:cubicBezTo>
                      <a:pt x="26003" y="24289"/>
                      <a:pt x="60960" y="42196"/>
                      <a:pt x="29718" y="68961"/>
                    </a:cubicBezTo>
                    <a:cubicBezTo>
                      <a:pt x="23051" y="81248"/>
                      <a:pt x="15240" y="103442"/>
                      <a:pt x="0" y="108299"/>
                    </a:cubicBezTo>
                    <a:lnTo>
                      <a:pt x="0" y="141065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B55380D3-4949-F7CB-7D32-006147E01EC2}"/>
                  </a:ext>
                </a:extLst>
              </p:cNvPr>
              <p:cNvSpPr/>
              <p:nvPr/>
            </p:nvSpPr>
            <p:spPr>
              <a:xfrm>
                <a:off x="8973014" y="4164658"/>
                <a:ext cx="42969" cy="138207"/>
              </a:xfrm>
              <a:custGeom>
                <a:avLst/>
                <a:gdLst>
                  <a:gd name="csX0" fmla="*/ 15633 w 42969"/>
                  <a:gd name="csY0" fmla="*/ 0 h 138207"/>
                  <a:gd name="csX1" fmla="*/ 15633 w 42969"/>
                  <a:gd name="csY1" fmla="*/ 24289 h 138207"/>
                  <a:gd name="csX2" fmla="*/ 13252 w 42969"/>
                  <a:gd name="csY2" fmla="*/ 66104 h 138207"/>
                  <a:gd name="csX3" fmla="*/ 42970 w 42969"/>
                  <a:gd name="csY3" fmla="*/ 105442 h 138207"/>
                  <a:gd name="csX4" fmla="*/ 42970 w 42969"/>
                  <a:gd name="csY4" fmla="*/ 138208 h 13820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42969" h="138207">
                    <a:moveTo>
                      <a:pt x="15633" y="0"/>
                    </a:moveTo>
                    <a:lnTo>
                      <a:pt x="15633" y="24289"/>
                    </a:lnTo>
                    <a:cubicBezTo>
                      <a:pt x="15633" y="24289"/>
                      <a:pt x="-17895" y="39434"/>
                      <a:pt x="13252" y="66104"/>
                    </a:cubicBezTo>
                    <a:cubicBezTo>
                      <a:pt x="19919" y="78391"/>
                      <a:pt x="27730" y="100584"/>
                      <a:pt x="42970" y="105442"/>
                    </a:cubicBezTo>
                    <a:cubicBezTo>
                      <a:pt x="42970" y="119920"/>
                      <a:pt x="42970" y="138208"/>
                      <a:pt x="42970" y="138208"/>
                    </a:cubicBez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</p:grp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D4DF96E-0739-0C1E-8615-70989618E678}"/>
              </a:ext>
            </a:extLst>
          </p:cNvPr>
          <p:cNvGrpSpPr/>
          <p:nvPr/>
        </p:nvGrpSpPr>
        <p:grpSpPr>
          <a:xfrm>
            <a:off x="8905872" y="5553526"/>
            <a:ext cx="313303" cy="396171"/>
            <a:chOff x="8905872" y="5553526"/>
            <a:chExt cx="313303" cy="396171"/>
          </a:xfrm>
        </p:grpSpPr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7829EE4E-E65E-41F9-0083-36C868114772}"/>
                </a:ext>
              </a:extLst>
            </p:cNvPr>
            <p:cNvSpPr/>
            <p:nvPr/>
          </p:nvSpPr>
          <p:spPr>
            <a:xfrm>
              <a:off x="8905872" y="5611160"/>
              <a:ext cx="252842" cy="314009"/>
            </a:xfrm>
            <a:custGeom>
              <a:avLst/>
              <a:gdLst>
                <a:gd name="csX0" fmla="*/ 173811 w 252842"/>
                <a:gd name="csY0" fmla="*/ 314010 h 314009"/>
                <a:gd name="csX1" fmla="*/ 0 w 252842"/>
                <a:gd name="csY1" fmla="*/ 314010 h 314009"/>
                <a:gd name="csX2" fmla="*/ 0 w 252842"/>
                <a:gd name="csY2" fmla="*/ 0 h 314009"/>
                <a:gd name="csX3" fmla="*/ 252843 w 252842"/>
                <a:gd name="csY3" fmla="*/ 0 h 314009"/>
                <a:gd name="csX4" fmla="*/ 252843 w 252842"/>
                <a:gd name="csY4" fmla="*/ 183702 h 31400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252842" h="314009">
                  <a:moveTo>
                    <a:pt x="173811" y="314010"/>
                  </a:moveTo>
                  <a:lnTo>
                    <a:pt x="0" y="314010"/>
                  </a:lnTo>
                  <a:lnTo>
                    <a:pt x="0" y="0"/>
                  </a:lnTo>
                  <a:lnTo>
                    <a:pt x="252843" y="0"/>
                  </a:lnTo>
                  <a:lnTo>
                    <a:pt x="252843" y="183702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7397D328-9DB6-7453-5204-1749EE0676F8}"/>
                </a:ext>
              </a:extLst>
            </p:cNvPr>
            <p:cNvSpPr/>
            <p:nvPr/>
          </p:nvSpPr>
          <p:spPr>
            <a:xfrm>
              <a:off x="8966635" y="5662334"/>
              <a:ext cx="160083" cy="10093"/>
            </a:xfrm>
            <a:custGeom>
              <a:avLst/>
              <a:gdLst>
                <a:gd name="csX0" fmla="*/ 0 w 160083"/>
                <a:gd name="csY0" fmla="*/ 0 h 10093"/>
                <a:gd name="csX1" fmla="*/ 160083 w 160083"/>
                <a:gd name="csY1" fmla="*/ 0 h 1009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60083" h="10093">
                  <a:moveTo>
                    <a:pt x="0" y="0"/>
                  </a:moveTo>
                  <a:lnTo>
                    <a:pt x="160083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B3382C3B-BA8B-6D14-0072-52FF9D5F9F2B}"/>
                </a:ext>
              </a:extLst>
            </p:cNvPr>
            <p:cNvSpPr/>
            <p:nvPr/>
          </p:nvSpPr>
          <p:spPr>
            <a:xfrm>
              <a:off x="8966635" y="5709168"/>
              <a:ext cx="160083" cy="10093"/>
            </a:xfrm>
            <a:custGeom>
              <a:avLst/>
              <a:gdLst>
                <a:gd name="csX0" fmla="*/ 0 w 160083"/>
                <a:gd name="csY0" fmla="*/ 0 h 10093"/>
                <a:gd name="csX1" fmla="*/ 160083 w 160083"/>
                <a:gd name="csY1" fmla="*/ 0 h 1009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60083" h="10093">
                  <a:moveTo>
                    <a:pt x="0" y="0"/>
                  </a:moveTo>
                  <a:lnTo>
                    <a:pt x="160083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37A415EE-51F7-3A4B-5153-D21BAB1B7D8C}"/>
                </a:ext>
              </a:extLst>
            </p:cNvPr>
            <p:cNvSpPr/>
            <p:nvPr/>
          </p:nvSpPr>
          <p:spPr>
            <a:xfrm>
              <a:off x="8966635" y="5756002"/>
              <a:ext cx="160083" cy="10093"/>
            </a:xfrm>
            <a:custGeom>
              <a:avLst/>
              <a:gdLst>
                <a:gd name="csX0" fmla="*/ 0 w 160083"/>
                <a:gd name="csY0" fmla="*/ 0 h 10093"/>
                <a:gd name="csX1" fmla="*/ 160083 w 160083"/>
                <a:gd name="csY1" fmla="*/ 0 h 1009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60083" h="10093">
                  <a:moveTo>
                    <a:pt x="0" y="0"/>
                  </a:moveTo>
                  <a:lnTo>
                    <a:pt x="160083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B2F6B99B-6C7F-DAD5-34A5-47EBFF24DCDD}"/>
                </a:ext>
              </a:extLst>
            </p:cNvPr>
            <p:cNvSpPr/>
            <p:nvPr/>
          </p:nvSpPr>
          <p:spPr>
            <a:xfrm>
              <a:off x="8966635" y="5802937"/>
              <a:ext cx="103155" cy="10093"/>
            </a:xfrm>
            <a:custGeom>
              <a:avLst/>
              <a:gdLst>
                <a:gd name="csX0" fmla="*/ 0 w 103155"/>
                <a:gd name="csY0" fmla="*/ 0 h 10093"/>
                <a:gd name="csX1" fmla="*/ 103156 w 103155"/>
                <a:gd name="csY1" fmla="*/ 0 h 1009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03155" h="10093">
                  <a:moveTo>
                    <a:pt x="0" y="0"/>
                  </a:moveTo>
                  <a:lnTo>
                    <a:pt x="103156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61E0CCCB-FE8A-883D-35D7-A428B54D16F9}"/>
                </a:ext>
              </a:extLst>
            </p:cNvPr>
            <p:cNvSpPr/>
            <p:nvPr/>
          </p:nvSpPr>
          <p:spPr>
            <a:xfrm>
              <a:off x="8946145" y="5662334"/>
              <a:ext cx="9689" cy="10093"/>
            </a:xfrm>
            <a:custGeom>
              <a:avLst/>
              <a:gdLst>
                <a:gd name="csX0" fmla="*/ 0 w 9689"/>
                <a:gd name="csY0" fmla="*/ 0 h 10093"/>
                <a:gd name="csX1" fmla="*/ 9690 w 9689"/>
                <a:gd name="csY1" fmla="*/ 0 h 1009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9689" h="10093">
                  <a:moveTo>
                    <a:pt x="0" y="0"/>
                  </a:moveTo>
                  <a:lnTo>
                    <a:pt x="969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84BF6DF2-1172-89E4-21DF-54DA7177C66A}"/>
                </a:ext>
              </a:extLst>
            </p:cNvPr>
            <p:cNvSpPr/>
            <p:nvPr/>
          </p:nvSpPr>
          <p:spPr>
            <a:xfrm>
              <a:off x="8946145" y="5709168"/>
              <a:ext cx="9689" cy="10093"/>
            </a:xfrm>
            <a:custGeom>
              <a:avLst/>
              <a:gdLst>
                <a:gd name="csX0" fmla="*/ 0 w 9689"/>
                <a:gd name="csY0" fmla="*/ 0 h 10093"/>
                <a:gd name="csX1" fmla="*/ 9690 w 9689"/>
                <a:gd name="csY1" fmla="*/ 0 h 1009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9689" h="10093">
                  <a:moveTo>
                    <a:pt x="0" y="0"/>
                  </a:moveTo>
                  <a:lnTo>
                    <a:pt x="969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79BE5A3D-B93B-7736-A056-F3F9D4951BD1}"/>
                </a:ext>
              </a:extLst>
            </p:cNvPr>
            <p:cNvSpPr/>
            <p:nvPr/>
          </p:nvSpPr>
          <p:spPr>
            <a:xfrm>
              <a:off x="8946145" y="5756002"/>
              <a:ext cx="9689" cy="10093"/>
            </a:xfrm>
            <a:custGeom>
              <a:avLst/>
              <a:gdLst>
                <a:gd name="csX0" fmla="*/ 0 w 9689"/>
                <a:gd name="csY0" fmla="*/ 0 h 10093"/>
                <a:gd name="csX1" fmla="*/ 9690 w 9689"/>
                <a:gd name="csY1" fmla="*/ 0 h 1009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9689" h="10093">
                  <a:moveTo>
                    <a:pt x="0" y="0"/>
                  </a:moveTo>
                  <a:lnTo>
                    <a:pt x="969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86003609-76B1-E3CC-5A79-17BF95779DAF}"/>
                </a:ext>
              </a:extLst>
            </p:cNvPr>
            <p:cNvSpPr/>
            <p:nvPr/>
          </p:nvSpPr>
          <p:spPr>
            <a:xfrm>
              <a:off x="8946145" y="5802937"/>
              <a:ext cx="9286" cy="10093"/>
            </a:xfrm>
            <a:custGeom>
              <a:avLst/>
              <a:gdLst>
                <a:gd name="csX0" fmla="*/ 0 w 9286"/>
                <a:gd name="csY0" fmla="*/ 0 h 10093"/>
                <a:gd name="csX1" fmla="*/ 9286 w 9286"/>
                <a:gd name="csY1" fmla="*/ 0 h 1009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9286" h="10093">
                  <a:moveTo>
                    <a:pt x="0" y="0"/>
                  </a:moveTo>
                  <a:lnTo>
                    <a:pt x="9286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grpSp>
          <p:nvGrpSpPr>
            <p:cNvPr id="189" name="Graphic 133">
              <a:extLst>
                <a:ext uri="{FF2B5EF4-FFF2-40B4-BE49-F238E27FC236}">
                  <a16:creationId xmlns:a16="http://schemas.microsoft.com/office/drawing/2014/main" id="{A29E4848-9727-DF3D-D3E6-6A83289A9F84}"/>
                </a:ext>
              </a:extLst>
            </p:cNvPr>
            <p:cNvGrpSpPr/>
            <p:nvPr/>
          </p:nvGrpSpPr>
          <p:grpSpPr>
            <a:xfrm>
              <a:off x="8973297" y="5553526"/>
              <a:ext cx="117894" cy="58946"/>
              <a:chOff x="8973297" y="5553526"/>
              <a:chExt cx="117894" cy="58946"/>
            </a:xfrm>
            <a:noFill/>
          </p:grpSpPr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69715328-4272-11F0-924A-30F567819A11}"/>
                  </a:ext>
                </a:extLst>
              </p:cNvPr>
              <p:cNvSpPr/>
              <p:nvPr/>
            </p:nvSpPr>
            <p:spPr>
              <a:xfrm>
                <a:off x="9005596" y="5553526"/>
                <a:ext cx="57634" cy="30684"/>
              </a:xfrm>
              <a:custGeom>
                <a:avLst/>
                <a:gdLst>
                  <a:gd name="csX0" fmla="*/ 57634 w 57634"/>
                  <a:gd name="csY0" fmla="*/ 30684 h 30684"/>
                  <a:gd name="csX1" fmla="*/ 57634 w 57634"/>
                  <a:gd name="csY1" fmla="*/ 28968 h 30684"/>
                  <a:gd name="csX2" fmla="*/ 28968 w 57634"/>
                  <a:gd name="csY2" fmla="*/ 0 h 30684"/>
                  <a:gd name="csX3" fmla="*/ 28968 w 57634"/>
                  <a:gd name="csY3" fmla="*/ 0 h 30684"/>
                  <a:gd name="csX4" fmla="*/ 0 w 57634"/>
                  <a:gd name="csY4" fmla="*/ 28666 h 30684"/>
                  <a:gd name="csX5" fmla="*/ 0 w 57634"/>
                  <a:gd name="csY5" fmla="*/ 30382 h 3068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</a:cxnLst>
                <a:rect l="l" t="t" r="r" b="b"/>
                <a:pathLst>
                  <a:path w="57634" h="30684">
                    <a:moveTo>
                      <a:pt x="57634" y="30684"/>
                    </a:moveTo>
                    <a:lnTo>
                      <a:pt x="57634" y="28968"/>
                    </a:lnTo>
                    <a:cubicBezTo>
                      <a:pt x="57634" y="13021"/>
                      <a:pt x="44815" y="101"/>
                      <a:pt x="28968" y="0"/>
                    </a:cubicBezTo>
                    <a:lnTo>
                      <a:pt x="28968" y="0"/>
                    </a:lnTo>
                    <a:cubicBezTo>
                      <a:pt x="13021" y="0"/>
                      <a:pt x="101" y="12819"/>
                      <a:pt x="0" y="28666"/>
                    </a:cubicBezTo>
                    <a:lnTo>
                      <a:pt x="0" y="30382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AEA31299-322E-96C6-9662-5C07D7994B7D}"/>
                  </a:ext>
                </a:extLst>
              </p:cNvPr>
              <p:cNvSpPr/>
              <p:nvPr/>
            </p:nvSpPr>
            <p:spPr>
              <a:xfrm>
                <a:off x="8973297" y="5583807"/>
                <a:ext cx="117894" cy="28665"/>
              </a:xfrm>
              <a:custGeom>
                <a:avLst/>
                <a:gdLst>
                  <a:gd name="csX0" fmla="*/ 117892 w 117894"/>
                  <a:gd name="csY0" fmla="*/ 28666 h 28665"/>
                  <a:gd name="csX1" fmla="*/ 117892 w 117894"/>
                  <a:gd name="csY1" fmla="*/ 8479 h 28665"/>
                  <a:gd name="csX2" fmla="*/ 110019 w 117894"/>
                  <a:gd name="csY2" fmla="*/ 404 h 28665"/>
                  <a:gd name="csX3" fmla="*/ 8075 w 117894"/>
                  <a:gd name="csY3" fmla="*/ 0 h 28665"/>
                  <a:gd name="csX4" fmla="*/ 0 w 117894"/>
                  <a:gd name="csY4" fmla="*/ 7974 h 28665"/>
                  <a:gd name="csX5" fmla="*/ 0 w 117894"/>
                  <a:gd name="csY5" fmla="*/ 25133 h 286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</a:cxnLst>
                <a:rect l="l" t="t" r="r" b="b"/>
                <a:pathLst>
                  <a:path w="117894" h="28665">
                    <a:moveTo>
                      <a:pt x="117892" y="28666"/>
                    </a:moveTo>
                    <a:lnTo>
                      <a:pt x="117892" y="8479"/>
                    </a:lnTo>
                    <a:cubicBezTo>
                      <a:pt x="117993" y="4037"/>
                      <a:pt x="114461" y="404"/>
                      <a:pt x="110019" y="404"/>
                    </a:cubicBezTo>
                    <a:lnTo>
                      <a:pt x="8075" y="0"/>
                    </a:lnTo>
                    <a:cubicBezTo>
                      <a:pt x="3634" y="0"/>
                      <a:pt x="0" y="3533"/>
                      <a:pt x="0" y="7974"/>
                    </a:cubicBezTo>
                    <a:lnTo>
                      <a:pt x="0" y="25133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</p:grpSp>
        <p:grpSp>
          <p:nvGrpSpPr>
            <p:cNvPr id="190" name="Graphic 133">
              <a:extLst>
                <a:ext uri="{FF2B5EF4-FFF2-40B4-BE49-F238E27FC236}">
                  <a16:creationId xmlns:a16="http://schemas.microsoft.com/office/drawing/2014/main" id="{E6C6E959-BFC4-3014-DDE1-8A6BA99D81C2}"/>
                </a:ext>
              </a:extLst>
            </p:cNvPr>
            <p:cNvGrpSpPr/>
            <p:nvPr/>
          </p:nvGrpSpPr>
          <p:grpSpPr>
            <a:xfrm>
              <a:off x="9074636" y="5805158"/>
              <a:ext cx="144539" cy="144539"/>
              <a:chOff x="9074636" y="5805158"/>
              <a:chExt cx="144539" cy="144539"/>
            </a:xfrm>
            <a:noFill/>
          </p:grpSpPr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50EA7399-1A92-13C2-E7C0-CA2CEBC2F7C8}"/>
                  </a:ext>
                </a:extLst>
              </p:cNvPr>
              <p:cNvSpPr/>
              <p:nvPr/>
            </p:nvSpPr>
            <p:spPr>
              <a:xfrm>
                <a:off x="9104311" y="5847853"/>
                <a:ext cx="85290" cy="59148"/>
              </a:xfrm>
              <a:custGeom>
                <a:avLst/>
                <a:gdLst>
                  <a:gd name="csX0" fmla="*/ 0 w 85290"/>
                  <a:gd name="csY0" fmla="*/ 33006 h 59148"/>
                  <a:gd name="csX1" fmla="*/ 25335 w 85290"/>
                  <a:gd name="csY1" fmla="*/ 59148 h 59148"/>
                  <a:gd name="csX2" fmla="*/ 85290 w 85290"/>
                  <a:gd name="csY2" fmla="*/ 0 h 5914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85290" h="59148">
                    <a:moveTo>
                      <a:pt x="0" y="33006"/>
                    </a:moveTo>
                    <a:lnTo>
                      <a:pt x="25335" y="59148"/>
                    </a:lnTo>
                    <a:lnTo>
                      <a:pt x="85290" y="0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1C485690-37C8-0CE5-2CBE-213358A3B30F}"/>
                  </a:ext>
                </a:extLst>
              </p:cNvPr>
              <p:cNvSpPr/>
              <p:nvPr/>
            </p:nvSpPr>
            <p:spPr>
              <a:xfrm>
                <a:off x="9074636" y="5805158"/>
                <a:ext cx="144539" cy="144539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593388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5F0148-5C46-7678-2D87-06EA175DFE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2038BF-C7E2-6D20-0DB1-FAD5F624A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47488" y="6339811"/>
            <a:ext cx="323849" cy="180000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fld id="{A134C65A-A9BE-9F48-B07C-F2CA02A2F7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CE29CCE-ED50-FA4A-F62D-A5C14067A237}"/>
              </a:ext>
            </a:extLst>
          </p:cNvPr>
          <p:cNvSpPr txBox="1">
            <a:spLocks/>
          </p:cNvSpPr>
          <p:nvPr/>
        </p:nvSpPr>
        <p:spPr>
          <a:xfrm>
            <a:off x="2489200" y="1300801"/>
            <a:ext cx="7635002" cy="228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trengthening skills and capability in sensitive data curation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66869380-084F-746C-A854-D6F92DCDFC57}"/>
              </a:ext>
            </a:extLst>
          </p:cNvPr>
          <p:cNvSpPr/>
          <p:nvPr/>
        </p:nvSpPr>
        <p:spPr>
          <a:xfrm>
            <a:off x="2485561" y="2181225"/>
            <a:ext cx="3039031" cy="351474"/>
          </a:xfrm>
          <a:prstGeom prst="chevron">
            <a:avLst>
              <a:gd name="adj" fmla="val 3194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idence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91D727A9-46E3-E0A4-8A3E-E7DAAF558F1F}"/>
              </a:ext>
            </a:extLst>
          </p:cNvPr>
          <p:cNvSpPr/>
          <p:nvPr/>
        </p:nvSpPr>
        <p:spPr>
          <a:xfrm>
            <a:off x="5579551" y="2181225"/>
            <a:ext cx="3039031" cy="351474"/>
          </a:xfrm>
          <a:prstGeom prst="chevron">
            <a:avLst>
              <a:gd name="adj" fmla="val 3194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ights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963E639C-B30C-38ED-C889-3972E686F539}"/>
              </a:ext>
            </a:extLst>
          </p:cNvPr>
          <p:cNvSpPr/>
          <p:nvPr/>
        </p:nvSpPr>
        <p:spPr>
          <a:xfrm>
            <a:off x="8673541" y="2181225"/>
            <a:ext cx="3039031" cy="351474"/>
          </a:xfrm>
          <a:prstGeom prst="chevron">
            <a:avLst>
              <a:gd name="adj" fmla="val 3194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4B126D-86E4-23FA-B9BB-F522BC7D8D49}"/>
              </a:ext>
            </a:extLst>
          </p:cNvPr>
          <p:cNvSpPr txBox="1"/>
          <p:nvPr/>
        </p:nvSpPr>
        <p:spPr>
          <a:xfrm>
            <a:off x="2485561" y="2602398"/>
            <a:ext cx="2840908" cy="320857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75D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 diverse key informant interviews</a:t>
            </a:r>
            <a:endParaRPr lang="en-US" sz="1400" dirty="0"/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75D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ear evidence of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ide variation in sensitive data curation practice</a:t>
            </a:r>
            <a:endParaRPr lang="en-US" sz="1400" b="1" i="0" u="none" strike="noStrike" kern="1200" cap="none" spc="0" normalizeH="0" baseline="0" noProof="0" dirty="0">
              <a:ln>
                <a:noFill/>
              </a:ln>
              <a:solidFill>
                <a:srgbClr val="475DA7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75D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ills survey co-designed with expert Oversight Group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75D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7 full survey responses across sectors, career stages, and data types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75D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/>
              </a:rPr>
              <a:t>3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cus groups (&gt;20 participants) to interrogate and contextualise survey findings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75D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5% report having full, appropriate train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 most learning is informal or self-directed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A09E1EF-1C68-E570-B199-7ED4062ADB44}"/>
              </a:ext>
            </a:extLst>
          </p:cNvPr>
          <p:cNvSpPr txBox="1"/>
          <p:nvPr/>
        </p:nvSpPr>
        <p:spPr>
          <a:xfrm>
            <a:off x="5579551" y="2602398"/>
            <a:ext cx="2840908" cy="35779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B2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jority of respondents believe curation skill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sitively impact their care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velopment</a:t>
            </a:r>
            <a:endParaRPr lang="en-US" sz="1400" dirty="0"/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B2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ong appetite for: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4318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B2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skills framework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4318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B2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rofessional pathway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B2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pping least equipped against needs external support shows priority gaps: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4318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B2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 / SDE literacy</a:t>
            </a:r>
            <a:endParaRPr lang="en-US" sz="1400" b="1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4318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B2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stical analysis</a:t>
            </a:r>
            <a:endParaRPr lang="en-US" sz="1400" b="1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4318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B2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knowledge</a:t>
            </a:r>
            <a:endParaRPr lang="en-US" sz="1400" b="1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4318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B2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derstanding user needs</a:t>
            </a:r>
            <a:endParaRPr lang="en-US" sz="1400" b="1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B2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in barriers: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ck of courses + lack of protected time</a:t>
            </a:r>
            <a:endParaRPr lang="en-US" sz="1400" b="1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8CFA140-1DD6-28E5-95F3-626FA3948F2D}"/>
              </a:ext>
            </a:extLst>
          </p:cNvPr>
          <p:cNvSpPr txBox="1"/>
          <p:nvPr/>
        </p:nvSpPr>
        <p:spPr>
          <a:xfrm>
            <a:off x="8625916" y="2640498"/>
            <a:ext cx="3212383" cy="14080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15900" indent="-215900">
              <a:spcAft>
                <a:spcPts val="300"/>
              </a:spcAft>
              <a:buClr>
                <a:srgbClr val="3C3C3B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dscape </a:t>
            </a:r>
            <a:r>
              <a:rPr lang="en-US" sz="1400" dirty="0">
                <a:solidFill>
                  <a:srgbClr val="000000"/>
                </a:solidFill>
                <a:latin typeface="Calibri" panose="020F0502020204030204"/>
              </a:rPr>
              <a:t>report of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ills gaps</a:t>
            </a:r>
            <a:endParaRPr lang="en-US">
              <a:ea typeface="+mn-ea"/>
              <a:cs typeface="+mn-cs"/>
            </a:endParaRPr>
          </a:p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3C3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ed recommendations for stakeholders clarifying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les and responsibilities</a:t>
            </a: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3C3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 literacy curriculum</a:t>
            </a:r>
            <a:endParaRPr lang="en-US" sz="1400" b="1" i="0" u="none" strike="noStrike" kern="1200" cap="none" spc="0" normalizeH="0" baseline="0" noProof="0" dirty="0">
              <a:ln>
                <a:noFill/>
              </a:ln>
              <a:solidFill>
                <a:srgbClr val="3C3C3B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3C3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 </a:t>
            </a:r>
            <a:r>
              <a:rPr lang="en-US" sz="1400" b="1" dirty="0">
                <a:solidFill>
                  <a:srgbClr val="3C3C3B"/>
                </a:solidFill>
                <a:latin typeface="Calibri" panose="020F0502020204030204"/>
              </a:rPr>
              <a:t>trai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e trainer model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TREs</a:t>
            </a:r>
            <a:endParaRPr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E3747A7-AAD8-C2CB-DAD9-98EC0D4C1D85}"/>
              </a:ext>
            </a:extLst>
          </p:cNvPr>
          <p:cNvGrpSpPr/>
          <p:nvPr/>
        </p:nvGrpSpPr>
        <p:grpSpPr>
          <a:xfrm>
            <a:off x="5453010" y="2648605"/>
            <a:ext cx="3093990" cy="2908594"/>
            <a:chOff x="5453010" y="2648605"/>
            <a:chExt cx="3093990" cy="2492909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5ABB3B0-E2CC-D983-26B3-B82D0208C3DB}"/>
                </a:ext>
              </a:extLst>
            </p:cNvPr>
            <p:cNvCxnSpPr>
              <a:cxnSpLocks/>
            </p:cNvCxnSpPr>
            <p:nvPr/>
          </p:nvCxnSpPr>
          <p:spPr>
            <a:xfrm>
              <a:off x="5453010" y="2648605"/>
              <a:ext cx="0" cy="2492909"/>
            </a:xfrm>
            <a:prstGeom prst="line">
              <a:avLst/>
            </a:prstGeom>
            <a:ln w="12700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597392A-E4F3-8CE7-5666-893E98B9B9AE}"/>
                </a:ext>
              </a:extLst>
            </p:cNvPr>
            <p:cNvCxnSpPr>
              <a:cxnSpLocks/>
            </p:cNvCxnSpPr>
            <p:nvPr/>
          </p:nvCxnSpPr>
          <p:spPr>
            <a:xfrm>
              <a:off x="8547000" y="2648605"/>
              <a:ext cx="0" cy="2492909"/>
            </a:xfrm>
            <a:prstGeom prst="line">
              <a:avLst/>
            </a:prstGeom>
            <a:ln w="12700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7BA763E-0329-E33C-CEF4-3A118331AC1F}"/>
              </a:ext>
            </a:extLst>
          </p:cNvPr>
          <p:cNvGrpSpPr/>
          <p:nvPr/>
        </p:nvGrpSpPr>
        <p:grpSpPr>
          <a:xfrm>
            <a:off x="3829105" y="1672439"/>
            <a:ext cx="351944" cy="393512"/>
            <a:chOff x="2453917" y="1672439"/>
            <a:chExt cx="351944" cy="393512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8DF747F-4E00-4EB9-1961-3BE71636B92E}"/>
                </a:ext>
              </a:extLst>
            </p:cNvPr>
            <p:cNvSpPr/>
            <p:nvPr/>
          </p:nvSpPr>
          <p:spPr>
            <a:xfrm>
              <a:off x="2453917" y="1672439"/>
              <a:ext cx="248742" cy="338272"/>
            </a:xfrm>
            <a:custGeom>
              <a:avLst/>
              <a:gdLst>
                <a:gd name="csX0" fmla="*/ 152818 w 248742"/>
                <a:gd name="csY0" fmla="*/ 338273 h 338272"/>
                <a:gd name="csX1" fmla="*/ 0 w 248742"/>
                <a:gd name="csY1" fmla="*/ 338273 h 338272"/>
                <a:gd name="csX2" fmla="*/ 0 w 248742"/>
                <a:gd name="csY2" fmla="*/ 0 h 338272"/>
                <a:gd name="csX3" fmla="*/ 248742 w 248742"/>
                <a:gd name="csY3" fmla="*/ 0 h 338272"/>
                <a:gd name="csX4" fmla="*/ 248742 w 248742"/>
                <a:gd name="csY4" fmla="*/ 169136 h 33827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248742" h="338272">
                  <a:moveTo>
                    <a:pt x="152818" y="338273"/>
                  </a:moveTo>
                  <a:lnTo>
                    <a:pt x="0" y="338273"/>
                  </a:lnTo>
                  <a:lnTo>
                    <a:pt x="0" y="0"/>
                  </a:lnTo>
                  <a:lnTo>
                    <a:pt x="248742" y="0"/>
                  </a:lnTo>
                  <a:lnTo>
                    <a:pt x="248742" y="16913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A95743F-8D99-2F04-67D1-270FC6E31787}"/>
                </a:ext>
              </a:extLst>
            </p:cNvPr>
            <p:cNvSpPr/>
            <p:nvPr/>
          </p:nvSpPr>
          <p:spPr>
            <a:xfrm>
              <a:off x="2485562" y="1727569"/>
              <a:ext cx="178728" cy="11025"/>
            </a:xfrm>
            <a:custGeom>
              <a:avLst/>
              <a:gdLst>
                <a:gd name="csX0" fmla="*/ 0 w 178728"/>
                <a:gd name="csY0" fmla="*/ 0 h 11025"/>
                <a:gd name="csX1" fmla="*/ 178729 w 178728"/>
                <a:gd name="csY1" fmla="*/ 0 h 110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78728" h="11025">
                  <a:moveTo>
                    <a:pt x="0" y="0"/>
                  </a:moveTo>
                  <a:lnTo>
                    <a:pt x="178729" y="0"/>
                  </a:lnTo>
                </a:path>
              </a:pathLst>
            </a:custGeom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B8FE74E-12AC-7710-BEC9-F6AE4621CB5A}"/>
                </a:ext>
              </a:extLst>
            </p:cNvPr>
            <p:cNvSpPr/>
            <p:nvPr/>
          </p:nvSpPr>
          <p:spPr>
            <a:xfrm>
              <a:off x="2485562" y="1778067"/>
              <a:ext cx="178728" cy="11025"/>
            </a:xfrm>
            <a:custGeom>
              <a:avLst/>
              <a:gdLst>
                <a:gd name="csX0" fmla="*/ 0 w 178728"/>
                <a:gd name="csY0" fmla="*/ 0 h 11025"/>
                <a:gd name="csX1" fmla="*/ 178729 w 178728"/>
                <a:gd name="csY1" fmla="*/ 0 h 110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78728" h="11025">
                  <a:moveTo>
                    <a:pt x="0" y="0"/>
                  </a:moveTo>
                  <a:lnTo>
                    <a:pt x="178729" y="0"/>
                  </a:lnTo>
                </a:path>
              </a:pathLst>
            </a:custGeom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78EB448-FB05-2DFE-7B69-DA2CC33F024E}"/>
                </a:ext>
              </a:extLst>
            </p:cNvPr>
            <p:cNvSpPr/>
            <p:nvPr/>
          </p:nvSpPr>
          <p:spPr>
            <a:xfrm>
              <a:off x="2485562" y="1828455"/>
              <a:ext cx="178728" cy="11025"/>
            </a:xfrm>
            <a:custGeom>
              <a:avLst/>
              <a:gdLst>
                <a:gd name="csX0" fmla="*/ 0 w 178728"/>
                <a:gd name="csY0" fmla="*/ 0 h 11025"/>
                <a:gd name="csX1" fmla="*/ 178729 w 178728"/>
                <a:gd name="csY1" fmla="*/ 0 h 110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78728" h="11025">
                  <a:moveTo>
                    <a:pt x="0" y="0"/>
                  </a:moveTo>
                  <a:lnTo>
                    <a:pt x="178729" y="0"/>
                  </a:lnTo>
                </a:path>
              </a:pathLst>
            </a:custGeom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4774207-F5B1-E9FF-8335-38A78577D378}"/>
                </a:ext>
              </a:extLst>
            </p:cNvPr>
            <p:cNvSpPr/>
            <p:nvPr/>
          </p:nvSpPr>
          <p:spPr>
            <a:xfrm>
              <a:off x="2485562" y="1878953"/>
              <a:ext cx="135727" cy="11025"/>
            </a:xfrm>
            <a:custGeom>
              <a:avLst/>
              <a:gdLst>
                <a:gd name="csX0" fmla="*/ 0 w 135727"/>
                <a:gd name="csY0" fmla="*/ 0 h 11025"/>
                <a:gd name="csX1" fmla="*/ 135728 w 135727"/>
                <a:gd name="csY1" fmla="*/ 0 h 110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35727" h="11025">
                  <a:moveTo>
                    <a:pt x="0" y="0"/>
                  </a:moveTo>
                  <a:lnTo>
                    <a:pt x="135728" y="0"/>
                  </a:lnTo>
                </a:path>
              </a:pathLst>
            </a:custGeom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7865707-B7A8-704C-7CC8-4882573441B8}"/>
                </a:ext>
              </a:extLst>
            </p:cNvPr>
            <p:cNvSpPr/>
            <p:nvPr/>
          </p:nvSpPr>
          <p:spPr>
            <a:xfrm>
              <a:off x="2485562" y="1929452"/>
              <a:ext cx="110368" cy="11025"/>
            </a:xfrm>
            <a:custGeom>
              <a:avLst/>
              <a:gdLst>
                <a:gd name="csX0" fmla="*/ 0 w 110368"/>
                <a:gd name="csY0" fmla="*/ 0 h 11025"/>
                <a:gd name="csX1" fmla="*/ 110368 w 110368"/>
                <a:gd name="csY1" fmla="*/ 0 h 110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10368" h="11025">
                  <a:moveTo>
                    <a:pt x="0" y="0"/>
                  </a:moveTo>
                  <a:lnTo>
                    <a:pt x="110368" y="0"/>
                  </a:lnTo>
                </a:path>
              </a:pathLst>
            </a:custGeom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7" name="Graphic 18">
              <a:extLst>
                <a:ext uri="{FF2B5EF4-FFF2-40B4-BE49-F238E27FC236}">
                  <a16:creationId xmlns:a16="http://schemas.microsoft.com/office/drawing/2014/main" id="{E49BD44E-F88C-0476-30E7-CAEF80678676}"/>
                </a:ext>
              </a:extLst>
            </p:cNvPr>
            <p:cNvGrpSpPr/>
            <p:nvPr/>
          </p:nvGrpSpPr>
          <p:grpSpPr>
            <a:xfrm>
              <a:off x="2619746" y="1878071"/>
              <a:ext cx="186115" cy="187880"/>
              <a:chOff x="2619746" y="1878071"/>
              <a:chExt cx="186115" cy="187880"/>
            </a:xfrm>
            <a:noFill/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A05FA124-FFF6-7037-15FE-1FB1FFDA4970}"/>
                  </a:ext>
                </a:extLst>
              </p:cNvPr>
              <p:cNvSpPr/>
              <p:nvPr/>
            </p:nvSpPr>
            <p:spPr>
              <a:xfrm>
                <a:off x="2619746" y="1878071"/>
                <a:ext cx="147304" cy="147305"/>
              </a:xfrm>
              <a:prstGeom prst="ellips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4626D8F0-D529-E1D1-48CF-4AD5E480AC90}"/>
                  </a:ext>
                </a:extLst>
              </p:cNvPr>
              <p:cNvSpPr/>
              <p:nvPr/>
            </p:nvSpPr>
            <p:spPr>
              <a:xfrm>
                <a:off x="2744448" y="2004538"/>
                <a:ext cx="61413" cy="61413"/>
              </a:xfrm>
              <a:custGeom>
                <a:avLst/>
                <a:gdLst>
                  <a:gd name="csX0" fmla="*/ 0 w 61413"/>
                  <a:gd name="csY0" fmla="*/ 0 h 61413"/>
                  <a:gd name="csX1" fmla="*/ 61414 w 61413"/>
                  <a:gd name="csY1" fmla="*/ 61414 h 6141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61413" h="61413">
                    <a:moveTo>
                      <a:pt x="0" y="0"/>
                    </a:moveTo>
                    <a:lnTo>
                      <a:pt x="61414" y="61414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BBC43FA-3358-E923-35CE-8B86EFC376FF}"/>
              </a:ext>
            </a:extLst>
          </p:cNvPr>
          <p:cNvGrpSpPr/>
          <p:nvPr/>
        </p:nvGrpSpPr>
        <p:grpSpPr>
          <a:xfrm>
            <a:off x="6900626" y="1672404"/>
            <a:ext cx="396880" cy="397002"/>
            <a:chOff x="9296401" y="3100903"/>
            <a:chExt cx="314610" cy="314706"/>
          </a:xfrm>
        </p:grpSpPr>
        <p:grpSp>
          <p:nvGrpSpPr>
            <p:cNvPr id="31" name="Graphic 99">
              <a:extLst>
                <a:ext uri="{FF2B5EF4-FFF2-40B4-BE49-F238E27FC236}">
                  <a16:creationId xmlns:a16="http://schemas.microsoft.com/office/drawing/2014/main" id="{55EA5741-EE07-405A-66E2-AA24F96FF944}"/>
                </a:ext>
              </a:extLst>
            </p:cNvPr>
            <p:cNvGrpSpPr/>
            <p:nvPr/>
          </p:nvGrpSpPr>
          <p:grpSpPr>
            <a:xfrm>
              <a:off x="9296401" y="3100903"/>
              <a:ext cx="314610" cy="314706"/>
              <a:chOff x="9296401" y="3100903"/>
              <a:chExt cx="314610" cy="314706"/>
            </a:xfrm>
            <a:noFill/>
          </p:grpSpPr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3B12656A-54DD-F9A7-EF71-E1068ABAE3E6}"/>
                  </a:ext>
                </a:extLst>
              </p:cNvPr>
              <p:cNvSpPr/>
              <p:nvPr/>
            </p:nvSpPr>
            <p:spPr>
              <a:xfrm>
                <a:off x="9296401" y="3100903"/>
                <a:ext cx="314610" cy="314706"/>
              </a:xfrm>
              <a:custGeom>
                <a:avLst/>
                <a:gdLst>
                  <a:gd name="csX0" fmla="*/ 241364 w 314610"/>
                  <a:gd name="csY0" fmla="*/ 200501 h 314706"/>
                  <a:gd name="csX1" fmla="*/ 307943 w 314610"/>
                  <a:gd name="csY1" fmla="*/ 267081 h 314706"/>
                  <a:gd name="csX2" fmla="*/ 308134 w 314610"/>
                  <a:gd name="csY2" fmla="*/ 267367 h 314706"/>
                  <a:gd name="csX3" fmla="*/ 314611 w 314610"/>
                  <a:gd name="csY3" fmla="*/ 283464 h 314706"/>
                  <a:gd name="csX4" fmla="*/ 307848 w 314610"/>
                  <a:gd name="csY4" fmla="*/ 299752 h 314706"/>
                  <a:gd name="csX5" fmla="*/ 299657 w 314610"/>
                  <a:gd name="csY5" fmla="*/ 307943 h 314706"/>
                  <a:gd name="csX6" fmla="*/ 283369 w 314610"/>
                  <a:gd name="csY6" fmla="*/ 314706 h 314706"/>
                  <a:gd name="csX7" fmla="*/ 267081 w 314610"/>
                  <a:gd name="csY7" fmla="*/ 307943 h 314706"/>
                  <a:gd name="csX8" fmla="*/ 267081 w 314610"/>
                  <a:gd name="csY8" fmla="*/ 307943 h 314706"/>
                  <a:gd name="csX9" fmla="*/ 267081 w 314610"/>
                  <a:gd name="csY9" fmla="*/ 307943 h 314706"/>
                  <a:gd name="csX10" fmla="*/ 200501 w 314610"/>
                  <a:gd name="csY10" fmla="*/ 241364 h 314706"/>
                  <a:gd name="csX11" fmla="*/ 130683 w 314610"/>
                  <a:gd name="csY11" fmla="*/ 261556 h 314706"/>
                  <a:gd name="csX12" fmla="*/ 38195 w 314610"/>
                  <a:gd name="csY12" fmla="*/ 223266 h 314706"/>
                  <a:gd name="csX13" fmla="*/ 0 w 314610"/>
                  <a:gd name="csY13" fmla="*/ 130778 h 314706"/>
                  <a:gd name="csX14" fmla="*/ 38291 w 314610"/>
                  <a:gd name="csY14" fmla="*/ 38291 h 314706"/>
                  <a:gd name="csX15" fmla="*/ 130778 w 314610"/>
                  <a:gd name="csY15" fmla="*/ 0 h 314706"/>
                  <a:gd name="csX16" fmla="*/ 223266 w 314610"/>
                  <a:gd name="csY16" fmla="*/ 38291 h 314706"/>
                  <a:gd name="csX17" fmla="*/ 261556 w 314610"/>
                  <a:gd name="csY17" fmla="*/ 130778 h 314706"/>
                  <a:gd name="csX18" fmla="*/ 241364 w 314610"/>
                  <a:gd name="csY18" fmla="*/ 200597 h 314706"/>
                  <a:gd name="csX19" fmla="*/ 241364 w 314610"/>
                  <a:gd name="csY19" fmla="*/ 200597 h 31470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14610" h="314706">
                    <a:moveTo>
                      <a:pt x="241364" y="200501"/>
                    </a:moveTo>
                    <a:lnTo>
                      <a:pt x="307943" y="267081"/>
                    </a:lnTo>
                    <a:lnTo>
                      <a:pt x="308134" y="267367"/>
                    </a:lnTo>
                    <a:cubicBezTo>
                      <a:pt x="312515" y="271844"/>
                      <a:pt x="314611" y="277654"/>
                      <a:pt x="314611" y="283464"/>
                    </a:cubicBezTo>
                    <a:cubicBezTo>
                      <a:pt x="314611" y="289274"/>
                      <a:pt x="312325" y="295275"/>
                      <a:pt x="307848" y="299752"/>
                    </a:cubicBezTo>
                    <a:lnTo>
                      <a:pt x="299657" y="307943"/>
                    </a:lnTo>
                    <a:cubicBezTo>
                      <a:pt x="295180" y="312420"/>
                      <a:pt x="289274" y="314706"/>
                      <a:pt x="283369" y="314706"/>
                    </a:cubicBezTo>
                    <a:cubicBezTo>
                      <a:pt x="277463" y="314706"/>
                      <a:pt x="271558" y="312515"/>
                      <a:pt x="267081" y="307943"/>
                    </a:cubicBezTo>
                    <a:lnTo>
                      <a:pt x="267081" y="307943"/>
                    </a:lnTo>
                    <a:cubicBezTo>
                      <a:pt x="267081" y="307943"/>
                      <a:pt x="267081" y="307943"/>
                      <a:pt x="267081" y="307943"/>
                    </a:cubicBezTo>
                    <a:lnTo>
                      <a:pt x="200501" y="241364"/>
                    </a:lnTo>
                    <a:cubicBezTo>
                      <a:pt x="180308" y="254127"/>
                      <a:pt x="156401" y="261556"/>
                      <a:pt x="130683" y="261556"/>
                    </a:cubicBezTo>
                    <a:cubicBezTo>
                      <a:pt x="94583" y="261556"/>
                      <a:pt x="61913" y="246888"/>
                      <a:pt x="38195" y="223266"/>
                    </a:cubicBezTo>
                    <a:cubicBezTo>
                      <a:pt x="14669" y="199549"/>
                      <a:pt x="0" y="166878"/>
                      <a:pt x="0" y="130778"/>
                    </a:cubicBezTo>
                    <a:cubicBezTo>
                      <a:pt x="0" y="94678"/>
                      <a:pt x="14669" y="62008"/>
                      <a:pt x="38291" y="38291"/>
                    </a:cubicBezTo>
                    <a:cubicBezTo>
                      <a:pt x="62008" y="14669"/>
                      <a:pt x="94678" y="0"/>
                      <a:pt x="130778" y="0"/>
                    </a:cubicBezTo>
                    <a:cubicBezTo>
                      <a:pt x="166878" y="0"/>
                      <a:pt x="199549" y="14669"/>
                      <a:pt x="223266" y="38291"/>
                    </a:cubicBezTo>
                    <a:cubicBezTo>
                      <a:pt x="246888" y="62008"/>
                      <a:pt x="261556" y="94678"/>
                      <a:pt x="261556" y="130778"/>
                    </a:cubicBezTo>
                    <a:cubicBezTo>
                      <a:pt x="261556" y="156401"/>
                      <a:pt x="254127" y="180404"/>
                      <a:pt x="241364" y="200597"/>
                    </a:cubicBezTo>
                    <a:lnTo>
                      <a:pt x="241364" y="20059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EAA3011E-A49B-0472-DAFE-EA43AF223A70}"/>
                  </a:ext>
                </a:extLst>
              </p:cNvPr>
              <p:cNvSpPr/>
              <p:nvPr/>
            </p:nvSpPr>
            <p:spPr>
              <a:xfrm>
                <a:off x="9496902" y="3301404"/>
                <a:ext cx="40862" cy="40862"/>
              </a:xfrm>
              <a:custGeom>
                <a:avLst/>
                <a:gdLst>
                  <a:gd name="csX0" fmla="*/ 0 w 40862"/>
                  <a:gd name="csY0" fmla="*/ 40862 h 40862"/>
                  <a:gd name="csX1" fmla="*/ 40862 w 40862"/>
                  <a:gd name="csY1" fmla="*/ 0 h 4086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40862" h="40862">
                    <a:moveTo>
                      <a:pt x="0" y="40862"/>
                    </a:moveTo>
                    <a:lnTo>
                      <a:pt x="40862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2" name="Graphic 99">
              <a:extLst>
                <a:ext uri="{FF2B5EF4-FFF2-40B4-BE49-F238E27FC236}">
                  <a16:creationId xmlns:a16="http://schemas.microsoft.com/office/drawing/2014/main" id="{9097851E-8A8A-B1BD-1C29-18861C2697A7}"/>
                </a:ext>
              </a:extLst>
            </p:cNvPr>
            <p:cNvGrpSpPr/>
            <p:nvPr/>
          </p:nvGrpSpPr>
          <p:grpSpPr>
            <a:xfrm>
              <a:off x="9343455" y="3191351"/>
              <a:ext cx="173926" cy="87034"/>
              <a:chOff x="9343455" y="3191351"/>
              <a:chExt cx="173926" cy="87034"/>
            </a:xfrm>
            <a:noFill/>
          </p:grpSpPr>
          <p:grpSp>
            <p:nvGrpSpPr>
              <p:cNvPr id="33" name="Graphic 99">
                <a:extLst>
                  <a:ext uri="{FF2B5EF4-FFF2-40B4-BE49-F238E27FC236}">
                    <a16:creationId xmlns:a16="http://schemas.microsoft.com/office/drawing/2014/main" id="{D43C869C-F9FC-3367-27F7-C6625D3B885B}"/>
                  </a:ext>
                </a:extLst>
              </p:cNvPr>
              <p:cNvGrpSpPr/>
              <p:nvPr/>
            </p:nvGrpSpPr>
            <p:grpSpPr>
              <a:xfrm>
                <a:off x="9343455" y="3191351"/>
                <a:ext cx="173926" cy="87034"/>
                <a:chOff x="9343455" y="3191351"/>
                <a:chExt cx="173926" cy="87034"/>
              </a:xfrm>
              <a:noFill/>
            </p:grpSpPr>
            <p:sp>
              <p:nvSpPr>
                <p:cNvPr id="35" name="Freeform: Shape 34">
                  <a:extLst>
                    <a:ext uri="{FF2B5EF4-FFF2-40B4-BE49-F238E27FC236}">
                      <a16:creationId xmlns:a16="http://schemas.microsoft.com/office/drawing/2014/main" id="{8B540067-9023-AEA9-92B7-3BAA669D143F}"/>
                    </a:ext>
                  </a:extLst>
                </p:cNvPr>
                <p:cNvSpPr/>
                <p:nvPr/>
              </p:nvSpPr>
              <p:spPr>
                <a:xfrm>
                  <a:off x="9343455" y="3191351"/>
                  <a:ext cx="173926" cy="87034"/>
                </a:xfrm>
                <a:custGeom>
                  <a:avLst/>
                  <a:gdLst>
                    <a:gd name="csX0" fmla="*/ 0 w 173926"/>
                    <a:gd name="csY0" fmla="*/ 46522 h 87034"/>
                    <a:gd name="csX1" fmla="*/ 173927 w 173926"/>
                    <a:gd name="csY1" fmla="*/ 46522 h 87034"/>
                    <a:gd name="csX2" fmla="*/ 0 w 173926"/>
                    <a:gd name="csY2" fmla="*/ 46522 h 8703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173926" h="87034">
                      <a:moveTo>
                        <a:pt x="0" y="46522"/>
                      </a:moveTo>
                      <a:cubicBezTo>
                        <a:pt x="0" y="46522"/>
                        <a:pt x="78010" y="137676"/>
                        <a:pt x="173927" y="46522"/>
                      </a:cubicBezTo>
                      <a:cubicBezTo>
                        <a:pt x="161925" y="34520"/>
                        <a:pt x="95917" y="-51872"/>
                        <a:pt x="0" y="46522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B28C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7E2A5E60-59DB-68C5-AD63-EE46AFE90C33}"/>
                    </a:ext>
                  </a:extLst>
                </p:cNvPr>
                <p:cNvSpPr/>
                <p:nvPr/>
              </p:nvSpPr>
              <p:spPr>
                <a:xfrm>
                  <a:off x="9389555" y="3201011"/>
                  <a:ext cx="84582" cy="72199"/>
                </a:xfrm>
                <a:custGeom>
                  <a:avLst/>
                  <a:gdLst>
                    <a:gd name="csX0" fmla="*/ 72200 w 84582"/>
                    <a:gd name="csY0" fmla="*/ 72200 h 72199"/>
                    <a:gd name="csX1" fmla="*/ 84582 w 84582"/>
                    <a:gd name="csY1" fmla="*/ 42291 h 72199"/>
                    <a:gd name="csX2" fmla="*/ 42291 w 84582"/>
                    <a:gd name="csY2" fmla="*/ 0 h 72199"/>
                    <a:gd name="csX3" fmla="*/ 0 w 84582"/>
                    <a:gd name="csY3" fmla="*/ 42291 h 72199"/>
                    <a:gd name="csX4" fmla="*/ 12383 w 84582"/>
                    <a:gd name="csY4" fmla="*/ 72200 h 7219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84582" h="72199">
                      <a:moveTo>
                        <a:pt x="72200" y="72200"/>
                      </a:moveTo>
                      <a:cubicBezTo>
                        <a:pt x="79820" y="64580"/>
                        <a:pt x="84582" y="54007"/>
                        <a:pt x="84582" y="42291"/>
                      </a:cubicBezTo>
                      <a:cubicBezTo>
                        <a:pt x="84582" y="18955"/>
                        <a:pt x="65627" y="0"/>
                        <a:pt x="42291" y="0"/>
                      </a:cubicBezTo>
                      <a:cubicBezTo>
                        <a:pt x="18955" y="0"/>
                        <a:pt x="0" y="18955"/>
                        <a:pt x="0" y="42291"/>
                      </a:cubicBezTo>
                      <a:cubicBezTo>
                        <a:pt x="0" y="54007"/>
                        <a:pt x="4763" y="64580"/>
                        <a:pt x="12383" y="72200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B28C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18948F6-6072-EB43-13BF-AC16CEDD7B27}"/>
                  </a:ext>
                </a:extLst>
              </p:cNvPr>
              <p:cNvSpPr/>
              <p:nvPr/>
            </p:nvSpPr>
            <p:spPr>
              <a:xfrm>
                <a:off x="9413559" y="3226252"/>
                <a:ext cx="36957" cy="36957"/>
              </a:xfrm>
              <a:custGeom>
                <a:avLst/>
                <a:gdLst>
                  <a:gd name="csX0" fmla="*/ 6382 w 36957"/>
                  <a:gd name="csY0" fmla="*/ 32480 h 36957"/>
                  <a:gd name="csX1" fmla="*/ 18478 w 36957"/>
                  <a:gd name="csY1" fmla="*/ 36957 h 36957"/>
                  <a:gd name="csX2" fmla="*/ 36957 w 36957"/>
                  <a:gd name="csY2" fmla="*/ 18479 h 36957"/>
                  <a:gd name="csX3" fmla="*/ 18478 w 36957"/>
                  <a:gd name="csY3" fmla="*/ 0 h 36957"/>
                  <a:gd name="csX4" fmla="*/ 0 w 36957"/>
                  <a:gd name="csY4" fmla="*/ 18479 h 3695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36957" h="36957">
                    <a:moveTo>
                      <a:pt x="6382" y="32480"/>
                    </a:moveTo>
                    <a:cubicBezTo>
                      <a:pt x="9620" y="35338"/>
                      <a:pt x="13811" y="36957"/>
                      <a:pt x="18478" y="36957"/>
                    </a:cubicBezTo>
                    <a:cubicBezTo>
                      <a:pt x="28670" y="36957"/>
                      <a:pt x="36957" y="28670"/>
                      <a:pt x="36957" y="18479"/>
                    </a:cubicBezTo>
                    <a:cubicBezTo>
                      <a:pt x="36957" y="8287"/>
                      <a:pt x="28670" y="0"/>
                      <a:pt x="18478" y="0"/>
                    </a:cubicBezTo>
                    <a:cubicBezTo>
                      <a:pt x="8287" y="0"/>
                      <a:pt x="0" y="8287"/>
                      <a:pt x="0" y="18479"/>
                    </a:cubicBez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8074220-60B7-C980-407C-57F84E4D51E3}"/>
              </a:ext>
            </a:extLst>
          </p:cNvPr>
          <p:cNvGrpSpPr/>
          <p:nvPr/>
        </p:nvGrpSpPr>
        <p:grpSpPr>
          <a:xfrm>
            <a:off x="10044848" y="1647067"/>
            <a:ext cx="296417" cy="449007"/>
            <a:chOff x="9774391" y="1647067"/>
            <a:chExt cx="296417" cy="449007"/>
          </a:xfrm>
        </p:grpSpPr>
        <p:grpSp>
          <p:nvGrpSpPr>
            <p:cNvPr id="40" name="Graphic 47">
              <a:extLst>
                <a:ext uri="{FF2B5EF4-FFF2-40B4-BE49-F238E27FC236}">
                  <a16:creationId xmlns:a16="http://schemas.microsoft.com/office/drawing/2014/main" id="{EE707B78-F6C9-6943-9417-239B129BE904}"/>
                </a:ext>
              </a:extLst>
            </p:cNvPr>
            <p:cNvGrpSpPr/>
            <p:nvPr/>
          </p:nvGrpSpPr>
          <p:grpSpPr>
            <a:xfrm>
              <a:off x="9774391" y="1647067"/>
              <a:ext cx="286035" cy="280606"/>
              <a:chOff x="9774391" y="1647067"/>
              <a:chExt cx="286035" cy="280606"/>
            </a:xfrm>
            <a:noFill/>
          </p:grpSpPr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C3BC32D1-1A80-F7EA-25A0-7F1888BC5DCF}"/>
                  </a:ext>
                </a:extLst>
              </p:cNvPr>
              <p:cNvSpPr/>
              <p:nvPr/>
            </p:nvSpPr>
            <p:spPr>
              <a:xfrm>
                <a:off x="9774391" y="1647067"/>
                <a:ext cx="286035" cy="280606"/>
              </a:xfrm>
              <a:custGeom>
                <a:avLst/>
                <a:gdLst>
                  <a:gd name="csX0" fmla="*/ 168497 w 286035"/>
                  <a:gd name="csY0" fmla="*/ 240887 h 280606"/>
                  <a:gd name="csX1" fmla="*/ 168497 w 286035"/>
                  <a:gd name="csY1" fmla="*/ 167069 h 280606"/>
                  <a:gd name="csX2" fmla="*/ 149733 w 286035"/>
                  <a:gd name="csY2" fmla="*/ 142304 h 280606"/>
                  <a:gd name="csX3" fmla="*/ 122015 w 286035"/>
                  <a:gd name="csY3" fmla="*/ 163449 h 280606"/>
                  <a:gd name="csX4" fmla="*/ 122015 w 286035"/>
                  <a:gd name="csY4" fmla="*/ 280607 h 280606"/>
                  <a:gd name="csX5" fmla="*/ 120015 w 286035"/>
                  <a:gd name="csY5" fmla="*/ 241554 h 280606"/>
                  <a:gd name="csX6" fmla="*/ 88202 w 286035"/>
                  <a:gd name="csY6" fmla="*/ 228029 h 280606"/>
                  <a:gd name="csX7" fmla="*/ 55340 w 286035"/>
                  <a:gd name="csY7" fmla="*/ 257651 h 280606"/>
                  <a:gd name="csX8" fmla="*/ 27241 w 286035"/>
                  <a:gd name="csY8" fmla="*/ 229553 h 280606"/>
                  <a:gd name="csX9" fmla="*/ 57055 w 286035"/>
                  <a:gd name="csY9" fmla="*/ 196406 h 280606"/>
                  <a:gd name="csX10" fmla="*/ 44101 w 286035"/>
                  <a:gd name="csY10" fmla="*/ 164402 h 280606"/>
                  <a:gd name="csX11" fmla="*/ 0 w 286035"/>
                  <a:gd name="csY11" fmla="*/ 162116 h 280606"/>
                  <a:gd name="csX12" fmla="*/ 0 w 286035"/>
                  <a:gd name="csY12" fmla="*/ 122301 h 280606"/>
                  <a:gd name="csX13" fmla="*/ 44482 w 286035"/>
                  <a:gd name="csY13" fmla="*/ 120015 h 280606"/>
                  <a:gd name="csX14" fmla="*/ 58007 w 286035"/>
                  <a:gd name="csY14" fmla="*/ 88297 h 280606"/>
                  <a:gd name="csX15" fmla="*/ 28385 w 286035"/>
                  <a:gd name="csY15" fmla="*/ 55436 h 280606"/>
                  <a:gd name="csX16" fmla="*/ 56483 w 286035"/>
                  <a:gd name="csY16" fmla="*/ 27241 h 280606"/>
                  <a:gd name="csX17" fmla="*/ 89630 w 286035"/>
                  <a:gd name="csY17" fmla="*/ 57150 h 280606"/>
                  <a:gd name="csX18" fmla="*/ 121634 w 286035"/>
                  <a:gd name="csY18" fmla="*/ 44196 h 280606"/>
                  <a:gd name="csX19" fmla="*/ 121634 w 286035"/>
                  <a:gd name="csY19" fmla="*/ 42863 h 280606"/>
                  <a:gd name="csX20" fmla="*/ 123920 w 286035"/>
                  <a:gd name="csY20" fmla="*/ 0 h 280606"/>
                  <a:gd name="csX21" fmla="*/ 163735 w 286035"/>
                  <a:gd name="csY21" fmla="*/ 0 h 280606"/>
                  <a:gd name="csX22" fmla="*/ 166021 w 286035"/>
                  <a:gd name="csY22" fmla="*/ 44577 h 280606"/>
                  <a:gd name="csX23" fmla="*/ 197834 w 286035"/>
                  <a:gd name="csY23" fmla="*/ 58103 h 280606"/>
                  <a:gd name="csX24" fmla="*/ 230600 w 286035"/>
                  <a:gd name="csY24" fmla="*/ 28480 h 280606"/>
                  <a:gd name="csX25" fmla="*/ 258794 w 286035"/>
                  <a:gd name="csY25" fmla="*/ 56579 h 280606"/>
                  <a:gd name="csX26" fmla="*/ 228886 w 286035"/>
                  <a:gd name="csY26" fmla="*/ 89726 h 280606"/>
                  <a:gd name="csX27" fmla="*/ 241935 w 286035"/>
                  <a:gd name="csY27" fmla="*/ 121730 h 280606"/>
                  <a:gd name="csX28" fmla="*/ 286036 w 286035"/>
                  <a:gd name="csY28" fmla="*/ 124016 h 280606"/>
                  <a:gd name="csX29" fmla="*/ 286036 w 286035"/>
                  <a:gd name="csY29" fmla="*/ 163830 h 280606"/>
                  <a:gd name="csX30" fmla="*/ 241459 w 286035"/>
                  <a:gd name="csY30" fmla="*/ 166116 h 280606"/>
                  <a:gd name="csX31" fmla="*/ 228029 w 286035"/>
                  <a:gd name="csY31" fmla="*/ 197834 h 280606"/>
                  <a:gd name="csX32" fmla="*/ 257651 w 286035"/>
                  <a:gd name="csY32" fmla="*/ 230696 h 280606"/>
                  <a:gd name="csX33" fmla="*/ 249460 w 286035"/>
                  <a:gd name="csY33" fmla="*/ 238887 h 28060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</a:cxnLst>
                <a:rect l="l" t="t" r="r" b="b"/>
                <a:pathLst>
                  <a:path w="286035" h="280606">
                    <a:moveTo>
                      <a:pt x="168497" y="240887"/>
                    </a:moveTo>
                    <a:lnTo>
                      <a:pt x="168497" y="167069"/>
                    </a:lnTo>
                    <a:cubicBezTo>
                      <a:pt x="168497" y="145352"/>
                      <a:pt x="149733" y="142304"/>
                      <a:pt x="149733" y="142304"/>
                    </a:cubicBezTo>
                    <a:cubicBezTo>
                      <a:pt x="126778" y="142304"/>
                      <a:pt x="122015" y="163449"/>
                      <a:pt x="122015" y="163449"/>
                    </a:cubicBezTo>
                    <a:lnTo>
                      <a:pt x="122015" y="280607"/>
                    </a:lnTo>
                    <a:lnTo>
                      <a:pt x="120015" y="241554"/>
                    </a:lnTo>
                    <a:cubicBezTo>
                      <a:pt x="108490" y="238887"/>
                      <a:pt x="97822" y="234315"/>
                      <a:pt x="88202" y="228029"/>
                    </a:cubicBezTo>
                    <a:lnTo>
                      <a:pt x="55340" y="257651"/>
                    </a:lnTo>
                    <a:lnTo>
                      <a:pt x="27241" y="229553"/>
                    </a:lnTo>
                    <a:lnTo>
                      <a:pt x="57055" y="196406"/>
                    </a:lnTo>
                    <a:cubicBezTo>
                      <a:pt x="51054" y="186690"/>
                      <a:pt x="46577" y="175927"/>
                      <a:pt x="44101" y="164402"/>
                    </a:cubicBezTo>
                    <a:lnTo>
                      <a:pt x="0" y="162116"/>
                    </a:lnTo>
                    <a:lnTo>
                      <a:pt x="0" y="122301"/>
                    </a:lnTo>
                    <a:lnTo>
                      <a:pt x="44482" y="120015"/>
                    </a:lnTo>
                    <a:cubicBezTo>
                      <a:pt x="47149" y="108585"/>
                      <a:pt x="51816" y="97822"/>
                      <a:pt x="58007" y="88297"/>
                    </a:cubicBezTo>
                    <a:lnTo>
                      <a:pt x="28385" y="55436"/>
                    </a:lnTo>
                    <a:lnTo>
                      <a:pt x="56483" y="27241"/>
                    </a:lnTo>
                    <a:lnTo>
                      <a:pt x="89630" y="57150"/>
                    </a:lnTo>
                    <a:cubicBezTo>
                      <a:pt x="99346" y="51149"/>
                      <a:pt x="110109" y="46673"/>
                      <a:pt x="121634" y="44196"/>
                    </a:cubicBezTo>
                    <a:lnTo>
                      <a:pt x="121634" y="42863"/>
                    </a:lnTo>
                    <a:cubicBezTo>
                      <a:pt x="121634" y="42863"/>
                      <a:pt x="123920" y="0"/>
                      <a:pt x="123920" y="0"/>
                    </a:cubicBezTo>
                    <a:lnTo>
                      <a:pt x="163735" y="0"/>
                    </a:lnTo>
                    <a:lnTo>
                      <a:pt x="166021" y="44577"/>
                    </a:lnTo>
                    <a:cubicBezTo>
                      <a:pt x="177451" y="47244"/>
                      <a:pt x="188214" y="51816"/>
                      <a:pt x="197834" y="58103"/>
                    </a:cubicBezTo>
                    <a:lnTo>
                      <a:pt x="230600" y="28480"/>
                    </a:lnTo>
                    <a:lnTo>
                      <a:pt x="258794" y="56579"/>
                    </a:lnTo>
                    <a:lnTo>
                      <a:pt x="228886" y="89726"/>
                    </a:lnTo>
                    <a:cubicBezTo>
                      <a:pt x="234887" y="99441"/>
                      <a:pt x="239459" y="110204"/>
                      <a:pt x="241935" y="121730"/>
                    </a:cubicBezTo>
                    <a:lnTo>
                      <a:pt x="286036" y="124016"/>
                    </a:lnTo>
                    <a:lnTo>
                      <a:pt x="286036" y="163830"/>
                    </a:lnTo>
                    <a:lnTo>
                      <a:pt x="241459" y="166116"/>
                    </a:lnTo>
                    <a:cubicBezTo>
                      <a:pt x="238792" y="177546"/>
                      <a:pt x="234220" y="188309"/>
                      <a:pt x="228029" y="197834"/>
                    </a:cubicBezTo>
                    <a:lnTo>
                      <a:pt x="257651" y="230696"/>
                    </a:lnTo>
                    <a:lnTo>
                      <a:pt x="249460" y="238887"/>
                    </a:ln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3AE99297-146D-3454-6326-DE4BC4EDEFCB}"/>
                  </a:ext>
                </a:extLst>
              </p:cNvPr>
              <p:cNvSpPr/>
              <p:nvPr/>
            </p:nvSpPr>
            <p:spPr>
              <a:xfrm>
                <a:off x="9870689" y="1742031"/>
                <a:ext cx="94869" cy="89439"/>
              </a:xfrm>
              <a:custGeom>
                <a:avLst/>
                <a:gdLst>
                  <a:gd name="csX0" fmla="*/ 94869 w 94869"/>
                  <a:gd name="csY0" fmla="*/ 47339 h 89439"/>
                  <a:gd name="csX1" fmla="*/ 72200 w 94869"/>
                  <a:gd name="csY1" fmla="*/ 87725 h 89439"/>
                  <a:gd name="csX2" fmla="*/ 72200 w 94869"/>
                  <a:gd name="csY2" fmla="*/ 72104 h 89439"/>
                  <a:gd name="csX3" fmla="*/ 53435 w 94869"/>
                  <a:gd name="csY3" fmla="*/ 47339 h 89439"/>
                  <a:gd name="csX4" fmla="*/ 25718 w 94869"/>
                  <a:gd name="csY4" fmla="*/ 68485 h 89439"/>
                  <a:gd name="csX5" fmla="*/ 25718 w 94869"/>
                  <a:gd name="csY5" fmla="*/ 89440 h 89439"/>
                  <a:gd name="csX6" fmla="*/ 0 w 94869"/>
                  <a:gd name="csY6" fmla="*/ 47339 h 89439"/>
                  <a:gd name="csX7" fmla="*/ 47435 w 94869"/>
                  <a:gd name="csY7" fmla="*/ 0 h 89439"/>
                  <a:gd name="csX8" fmla="*/ 94869 w 94869"/>
                  <a:gd name="csY8" fmla="*/ 47339 h 8943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94869" h="89439">
                    <a:moveTo>
                      <a:pt x="94869" y="47339"/>
                    </a:moveTo>
                    <a:cubicBezTo>
                      <a:pt x="94869" y="64484"/>
                      <a:pt x="85820" y="79438"/>
                      <a:pt x="72200" y="87725"/>
                    </a:cubicBezTo>
                    <a:lnTo>
                      <a:pt x="72200" y="72104"/>
                    </a:lnTo>
                    <a:cubicBezTo>
                      <a:pt x="72200" y="50387"/>
                      <a:pt x="53435" y="47339"/>
                      <a:pt x="53435" y="47339"/>
                    </a:cubicBezTo>
                    <a:cubicBezTo>
                      <a:pt x="30480" y="47339"/>
                      <a:pt x="25718" y="68485"/>
                      <a:pt x="25718" y="68485"/>
                    </a:cubicBezTo>
                    <a:lnTo>
                      <a:pt x="25718" y="89440"/>
                    </a:lnTo>
                    <a:cubicBezTo>
                      <a:pt x="10382" y="81629"/>
                      <a:pt x="0" y="65723"/>
                      <a:pt x="0" y="47339"/>
                    </a:cubicBezTo>
                    <a:cubicBezTo>
                      <a:pt x="0" y="21145"/>
                      <a:pt x="21241" y="0"/>
                      <a:pt x="47435" y="0"/>
                    </a:cubicBezTo>
                    <a:cubicBezTo>
                      <a:pt x="73628" y="0"/>
                      <a:pt x="94869" y="21145"/>
                      <a:pt x="94869" y="47339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41" name="Graphic 47">
              <a:extLst>
                <a:ext uri="{FF2B5EF4-FFF2-40B4-BE49-F238E27FC236}">
                  <a16:creationId xmlns:a16="http://schemas.microsoft.com/office/drawing/2014/main" id="{2AA478BD-EC92-E3B4-199F-22685AE5FEA7}"/>
                </a:ext>
              </a:extLst>
            </p:cNvPr>
            <p:cNvGrpSpPr/>
            <p:nvPr/>
          </p:nvGrpSpPr>
          <p:grpSpPr>
            <a:xfrm>
              <a:off x="9835277" y="1789370"/>
              <a:ext cx="235531" cy="306704"/>
              <a:chOff x="9835277" y="1789370"/>
              <a:chExt cx="235531" cy="306704"/>
            </a:xfrm>
            <a:noFill/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3F28C43A-11B3-CEDD-CCC8-482E85BCDD53}"/>
                  </a:ext>
                </a:extLst>
              </p:cNvPr>
              <p:cNvSpPr/>
              <p:nvPr/>
            </p:nvSpPr>
            <p:spPr>
              <a:xfrm>
                <a:off x="9986798" y="1890526"/>
                <a:ext cx="2095" cy="8191"/>
              </a:xfrm>
              <a:custGeom>
                <a:avLst/>
                <a:gdLst>
                  <a:gd name="csX0" fmla="*/ 0 w 2095"/>
                  <a:gd name="csY0" fmla="*/ 0 h 8191"/>
                  <a:gd name="csX1" fmla="*/ 667 w 2095"/>
                  <a:gd name="csY1" fmla="*/ 8192 h 8191"/>
                  <a:gd name="csX2" fmla="*/ 2096 w 2095"/>
                  <a:gd name="csY2" fmla="*/ 1905 h 819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2095" h="8191">
                    <a:moveTo>
                      <a:pt x="0" y="0"/>
                    </a:moveTo>
                    <a:cubicBezTo>
                      <a:pt x="476" y="2572"/>
                      <a:pt x="667" y="5334"/>
                      <a:pt x="667" y="8192"/>
                    </a:cubicBezTo>
                    <a:cubicBezTo>
                      <a:pt x="1048" y="5810"/>
                      <a:pt x="1429" y="3715"/>
                      <a:pt x="2096" y="1905"/>
                    </a:cubicBez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02DABE41-98BB-83CE-5442-83A6CD1E5437}"/>
                  </a:ext>
                </a:extLst>
              </p:cNvPr>
              <p:cNvSpPr/>
              <p:nvPr/>
            </p:nvSpPr>
            <p:spPr>
              <a:xfrm>
                <a:off x="9835277" y="1789370"/>
                <a:ext cx="235531" cy="306704"/>
              </a:xfrm>
              <a:custGeom>
                <a:avLst/>
                <a:gdLst>
                  <a:gd name="csX0" fmla="*/ 188573 w 235531"/>
                  <a:gd name="csY0" fmla="*/ 96584 h 306704"/>
                  <a:gd name="csX1" fmla="*/ 194479 w 235531"/>
                  <a:gd name="csY1" fmla="*/ 116396 h 306704"/>
                  <a:gd name="csX2" fmla="*/ 211433 w 235531"/>
                  <a:gd name="csY2" fmla="*/ 99632 h 306704"/>
                  <a:gd name="csX3" fmla="*/ 235532 w 235531"/>
                  <a:gd name="csY3" fmla="*/ 118967 h 306704"/>
                  <a:gd name="csX4" fmla="*/ 235532 w 235531"/>
                  <a:gd name="csY4" fmla="*/ 198596 h 306704"/>
                  <a:gd name="csX5" fmla="*/ 216577 w 235531"/>
                  <a:gd name="csY5" fmla="*/ 264414 h 306704"/>
                  <a:gd name="csX6" fmla="*/ 143806 w 235531"/>
                  <a:gd name="csY6" fmla="*/ 306705 h 306704"/>
                  <a:gd name="csX7" fmla="*/ 45413 w 235531"/>
                  <a:gd name="csY7" fmla="*/ 240316 h 306704"/>
                  <a:gd name="csX8" fmla="*/ 4931 w 235531"/>
                  <a:gd name="csY8" fmla="*/ 170879 h 306704"/>
                  <a:gd name="csX9" fmla="*/ 7027 w 235531"/>
                  <a:gd name="csY9" fmla="*/ 143923 h 306704"/>
                  <a:gd name="csX10" fmla="*/ 61129 w 235531"/>
                  <a:gd name="csY10" fmla="*/ 173927 h 306704"/>
                  <a:gd name="csX11" fmla="*/ 61129 w 235531"/>
                  <a:gd name="csY11" fmla="*/ 21146 h 306704"/>
                  <a:gd name="csX12" fmla="*/ 88847 w 235531"/>
                  <a:gd name="csY12" fmla="*/ 0 h 306704"/>
                  <a:gd name="csX13" fmla="*/ 107611 w 235531"/>
                  <a:gd name="csY13" fmla="*/ 24765 h 306704"/>
                  <a:gd name="csX14" fmla="*/ 107611 w 235531"/>
                  <a:gd name="csY14" fmla="*/ 98584 h 30670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</a:cxnLst>
                <a:rect l="l" t="t" r="r" b="b"/>
                <a:pathLst>
                  <a:path w="235531" h="306704">
                    <a:moveTo>
                      <a:pt x="188573" y="96584"/>
                    </a:moveTo>
                    <a:cubicBezTo>
                      <a:pt x="191812" y="101918"/>
                      <a:pt x="193050" y="108966"/>
                      <a:pt x="194479" y="116396"/>
                    </a:cubicBezTo>
                    <a:cubicBezTo>
                      <a:pt x="194574" y="109157"/>
                      <a:pt x="200003" y="103251"/>
                      <a:pt x="211433" y="99632"/>
                    </a:cubicBezTo>
                    <a:cubicBezTo>
                      <a:pt x="233722" y="96584"/>
                      <a:pt x="235532" y="118967"/>
                      <a:pt x="235532" y="118967"/>
                    </a:cubicBezTo>
                    <a:lnTo>
                      <a:pt x="235532" y="198596"/>
                    </a:lnTo>
                    <a:cubicBezTo>
                      <a:pt x="235532" y="221933"/>
                      <a:pt x="229436" y="244983"/>
                      <a:pt x="216577" y="264414"/>
                    </a:cubicBezTo>
                    <a:cubicBezTo>
                      <a:pt x="202670" y="285560"/>
                      <a:pt x="179715" y="306705"/>
                      <a:pt x="143806" y="306705"/>
                    </a:cubicBezTo>
                    <a:cubicBezTo>
                      <a:pt x="115421" y="306705"/>
                      <a:pt x="79798" y="301276"/>
                      <a:pt x="45413" y="240316"/>
                    </a:cubicBezTo>
                    <a:lnTo>
                      <a:pt x="4931" y="170879"/>
                    </a:lnTo>
                    <a:cubicBezTo>
                      <a:pt x="4931" y="170879"/>
                      <a:pt x="-7451" y="154019"/>
                      <a:pt x="7027" y="143923"/>
                    </a:cubicBezTo>
                    <a:cubicBezTo>
                      <a:pt x="14552" y="142018"/>
                      <a:pt x="20838" y="136017"/>
                      <a:pt x="61129" y="173927"/>
                    </a:cubicBezTo>
                    <a:lnTo>
                      <a:pt x="61129" y="21146"/>
                    </a:lnTo>
                    <a:cubicBezTo>
                      <a:pt x="61129" y="21146"/>
                      <a:pt x="65891" y="0"/>
                      <a:pt x="88847" y="0"/>
                    </a:cubicBezTo>
                    <a:cubicBezTo>
                      <a:pt x="88847" y="0"/>
                      <a:pt x="107611" y="3048"/>
                      <a:pt x="107611" y="24765"/>
                    </a:cubicBezTo>
                    <a:lnTo>
                      <a:pt x="107611" y="98584"/>
                    </a:ln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A84EB48-8CCB-F9D3-0513-980739580B00}"/>
                  </a:ext>
                </a:extLst>
              </p:cNvPr>
              <p:cNvSpPr/>
              <p:nvPr/>
            </p:nvSpPr>
            <p:spPr>
              <a:xfrm>
                <a:off x="9942888" y="1887954"/>
                <a:ext cx="9525" cy="40290"/>
              </a:xfrm>
              <a:custGeom>
                <a:avLst/>
                <a:gdLst>
                  <a:gd name="csX0" fmla="*/ 0 w 9525"/>
                  <a:gd name="csY0" fmla="*/ 0 h 40290"/>
                  <a:gd name="csX1" fmla="*/ 0 w 9525"/>
                  <a:gd name="csY1" fmla="*/ 40291 h 402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9525" h="40290">
                    <a:moveTo>
                      <a:pt x="0" y="0"/>
                    </a:moveTo>
                    <a:lnTo>
                      <a:pt x="0" y="40291"/>
                    </a:ln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F0D7D74-CF9D-849B-B192-9637F53880A9}"/>
                  </a:ext>
                </a:extLst>
              </p:cNvPr>
              <p:cNvSpPr/>
              <p:nvPr/>
            </p:nvSpPr>
            <p:spPr>
              <a:xfrm>
                <a:off x="10029756" y="1905766"/>
                <a:ext cx="9525" cy="25526"/>
              </a:xfrm>
              <a:custGeom>
                <a:avLst/>
                <a:gdLst>
                  <a:gd name="csX0" fmla="*/ 0 w 9525"/>
                  <a:gd name="csY0" fmla="*/ 25527 h 25526"/>
                  <a:gd name="csX1" fmla="*/ 0 w 9525"/>
                  <a:gd name="csY1" fmla="*/ 0 h 2552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9525" h="25526">
                    <a:moveTo>
                      <a:pt x="0" y="25527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698AD597-9C40-1A41-14A9-36314A1C71B3}"/>
                  </a:ext>
                </a:extLst>
              </p:cNvPr>
              <p:cNvSpPr/>
              <p:nvPr/>
            </p:nvSpPr>
            <p:spPr>
              <a:xfrm>
                <a:off x="9988894" y="1877417"/>
                <a:ext cx="34956" cy="15013"/>
              </a:xfrm>
              <a:custGeom>
                <a:avLst/>
                <a:gdLst>
                  <a:gd name="csX0" fmla="*/ 0 w 34956"/>
                  <a:gd name="csY0" fmla="*/ 15014 h 15013"/>
                  <a:gd name="csX1" fmla="*/ 14954 w 34956"/>
                  <a:gd name="csY1" fmla="*/ 155 h 15013"/>
                  <a:gd name="csX2" fmla="*/ 34957 w 34956"/>
                  <a:gd name="csY2" fmla="*/ 8537 h 1501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34956" h="15013">
                    <a:moveTo>
                      <a:pt x="0" y="15014"/>
                    </a:moveTo>
                    <a:cubicBezTo>
                      <a:pt x="3048" y="4822"/>
                      <a:pt x="9620" y="1488"/>
                      <a:pt x="14954" y="155"/>
                    </a:cubicBezTo>
                    <a:cubicBezTo>
                      <a:pt x="25717" y="-798"/>
                      <a:pt x="31528" y="2726"/>
                      <a:pt x="34957" y="8537"/>
                    </a:cubicBez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2EA039A-3AA6-C8E7-A51A-F110FF49076E}"/>
                  </a:ext>
                </a:extLst>
              </p:cNvPr>
              <p:cNvSpPr/>
              <p:nvPr/>
            </p:nvSpPr>
            <p:spPr>
              <a:xfrm>
                <a:off x="9987465" y="1898718"/>
                <a:ext cx="9525" cy="190"/>
              </a:xfrm>
              <a:custGeom>
                <a:avLst/>
                <a:gdLst>
                  <a:gd name="csX0" fmla="*/ 0 w 9525"/>
                  <a:gd name="csY0" fmla="*/ 191 h 190"/>
                  <a:gd name="csX1" fmla="*/ 0 w 9525"/>
                  <a:gd name="csY1" fmla="*/ 0 h 190"/>
                  <a:gd name="csX2" fmla="*/ 0 w 9525"/>
                  <a:gd name="csY2" fmla="*/ 191 h 1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9525" h="190">
                    <a:moveTo>
                      <a:pt x="0" y="191"/>
                    </a:moveTo>
                    <a:lnTo>
                      <a:pt x="0" y="0"/>
                    </a:lnTo>
                    <a:lnTo>
                      <a:pt x="0" y="191"/>
                    </a:ln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14BB066D-0D86-C88F-6099-2544119953EB}"/>
                  </a:ext>
                </a:extLst>
              </p:cNvPr>
              <p:cNvSpPr/>
              <p:nvPr/>
            </p:nvSpPr>
            <p:spPr>
              <a:xfrm>
                <a:off x="9943555" y="1864714"/>
                <a:ext cx="43243" cy="25812"/>
              </a:xfrm>
              <a:custGeom>
                <a:avLst/>
                <a:gdLst>
                  <a:gd name="csX0" fmla="*/ 0 w 43243"/>
                  <a:gd name="csY0" fmla="*/ 5619 h 25812"/>
                  <a:gd name="csX1" fmla="*/ 43243 w 43243"/>
                  <a:gd name="csY1" fmla="*/ 25812 h 2581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43243" h="25812">
                    <a:moveTo>
                      <a:pt x="0" y="5619"/>
                    </a:moveTo>
                    <a:cubicBezTo>
                      <a:pt x="23241" y="-7811"/>
                      <a:pt x="39910" y="4381"/>
                      <a:pt x="43243" y="25812"/>
                    </a:cubicBez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4FF7BAA5-2334-AF13-75EC-E0371B7A5FC7}"/>
                  </a:ext>
                </a:extLst>
              </p:cNvPr>
              <p:cNvSpPr/>
              <p:nvPr/>
            </p:nvSpPr>
            <p:spPr>
              <a:xfrm>
                <a:off x="9987180" y="1898813"/>
                <a:ext cx="285" cy="32480"/>
              </a:xfrm>
              <a:custGeom>
                <a:avLst/>
                <a:gdLst>
                  <a:gd name="csX0" fmla="*/ 0 w 285"/>
                  <a:gd name="csY0" fmla="*/ 32480 h 32480"/>
                  <a:gd name="csX1" fmla="*/ 286 w 285"/>
                  <a:gd name="csY1" fmla="*/ 0 h 3248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285" h="32480">
                    <a:moveTo>
                      <a:pt x="0" y="32480"/>
                    </a:moveTo>
                    <a:lnTo>
                      <a:pt x="286" y="0"/>
                    </a:lnTo>
                  </a:path>
                </a:pathLst>
              </a:custGeom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F8D79262-F85B-51DD-3CA4-25EEDB8AA2F9}"/>
                  </a:ext>
                </a:extLst>
              </p:cNvPr>
              <p:cNvSpPr/>
              <p:nvPr/>
            </p:nvSpPr>
            <p:spPr>
              <a:xfrm>
                <a:off x="10029852" y="1905766"/>
                <a:ext cx="9525" cy="25526"/>
              </a:xfrm>
              <a:custGeom>
                <a:avLst/>
                <a:gdLst>
                  <a:gd name="csX0" fmla="*/ 0 w 9525"/>
                  <a:gd name="csY0" fmla="*/ 25527 h 25526"/>
                  <a:gd name="csX1" fmla="*/ 0 w 9525"/>
                  <a:gd name="csY1" fmla="*/ 0 h 2552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9525" h="25526">
                    <a:moveTo>
                      <a:pt x="0" y="25527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0F6DABE4-37F1-1493-A658-D09A449C7C35}"/>
              </a:ext>
            </a:extLst>
          </p:cNvPr>
          <p:cNvSpPr/>
          <p:nvPr/>
        </p:nvSpPr>
        <p:spPr>
          <a:xfrm>
            <a:off x="2485561" y="6288556"/>
            <a:ext cx="9227014" cy="48689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90000" rIns="90000" bIns="9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essionals desire both skills frameworks and practical training, but formal provision is limited.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868621A-04CE-DDF8-2D3F-059C07EC9C99}"/>
              </a:ext>
            </a:extLst>
          </p:cNvPr>
          <p:cNvSpPr/>
          <p:nvPr/>
        </p:nvSpPr>
        <p:spPr>
          <a:xfrm>
            <a:off x="2558586" y="6340657"/>
            <a:ext cx="389731" cy="38269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ACD690A1-36C8-0625-4150-2D99E9543ED2}"/>
              </a:ext>
            </a:extLst>
          </p:cNvPr>
          <p:cNvGrpSpPr/>
          <p:nvPr/>
        </p:nvGrpSpPr>
        <p:grpSpPr>
          <a:xfrm>
            <a:off x="2619319" y="6402245"/>
            <a:ext cx="268435" cy="261660"/>
            <a:chOff x="973546" y="5792645"/>
            <a:chExt cx="268435" cy="261660"/>
          </a:xfrm>
        </p:grpSpPr>
        <p:grpSp>
          <p:nvGrpSpPr>
            <p:cNvPr id="56" name="Graphic 53">
              <a:extLst>
                <a:ext uri="{FF2B5EF4-FFF2-40B4-BE49-F238E27FC236}">
                  <a16:creationId xmlns:a16="http://schemas.microsoft.com/office/drawing/2014/main" id="{90B49094-60B0-E44B-6DB3-F82284EB3AA2}"/>
                </a:ext>
              </a:extLst>
            </p:cNvPr>
            <p:cNvGrpSpPr/>
            <p:nvPr/>
          </p:nvGrpSpPr>
          <p:grpSpPr>
            <a:xfrm>
              <a:off x="992671" y="5818974"/>
              <a:ext cx="230014" cy="209345"/>
              <a:chOff x="992671" y="5818974"/>
              <a:chExt cx="230014" cy="209345"/>
            </a:xfrm>
            <a:noFill/>
          </p:grpSpPr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35B3451-0D0E-74E1-203F-44E8D7A36F81}"/>
                  </a:ext>
                </a:extLst>
              </p:cNvPr>
              <p:cNvSpPr/>
              <p:nvPr/>
            </p:nvSpPr>
            <p:spPr>
              <a:xfrm>
                <a:off x="992671" y="5865971"/>
                <a:ext cx="115350" cy="162347"/>
              </a:xfrm>
              <a:custGeom>
                <a:avLst/>
                <a:gdLst>
                  <a:gd name="csX0" fmla="*/ 115350 w 115350"/>
                  <a:gd name="csY0" fmla="*/ 56260 h 162347"/>
                  <a:gd name="csX1" fmla="*/ 115350 w 115350"/>
                  <a:gd name="csY1" fmla="*/ 149998 h 162347"/>
                  <a:gd name="csX2" fmla="*/ 97512 w 115350"/>
                  <a:gd name="csY2" fmla="*/ 162348 h 162347"/>
                  <a:gd name="csX3" fmla="*/ 17924 w 115350"/>
                  <a:gd name="csY3" fmla="*/ 132074 h 162347"/>
                  <a:gd name="csX4" fmla="*/ 19211 w 115350"/>
                  <a:gd name="csY4" fmla="*/ 125213 h 162347"/>
                  <a:gd name="csX5" fmla="*/ 0 w 115350"/>
                  <a:gd name="csY5" fmla="*/ 106088 h 162347"/>
                  <a:gd name="csX6" fmla="*/ 0 w 115350"/>
                  <a:gd name="csY6" fmla="*/ 12350 h 162347"/>
                  <a:gd name="csX7" fmla="*/ 17924 w 115350"/>
                  <a:gd name="csY7" fmla="*/ 0 h 162347"/>
                  <a:gd name="csX8" fmla="*/ 97597 w 115350"/>
                  <a:gd name="csY8" fmla="*/ 30103 h 162347"/>
                  <a:gd name="csX9" fmla="*/ 96225 w 115350"/>
                  <a:gd name="csY9" fmla="*/ 37135 h 162347"/>
                  <a:gd name="csX10" fmla="*/ 115350 w 115350"/>
                  <a:gd name="csY10" fmla="*/ 56260 h 16234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115350" h="162347">
                    <a:moveTo>
                      <a:pt x="115350" y="56260"/>
                    </a:moveTo>
                    <a:lnTo>
                      <a:pt x="115350" y="149998"/>
                    </a:lnTo>
                    <a:cubicBezTo>
                      <a:pt x="107203" y="149998"/>
                      <a:pt x="100170" y="155144"/>
                      <a:pt x="97512" y="162348"/>
                    </a:cubicBezTo>
                    <a:lnTo>
                      <a:pt x="17924" y="132074"/>
                    </a:lnTo>
                    <a:cubicBezTo>
                      <a:pt x="18782" y="129930"/>
                      <a:pt x="19211" y="127614"/>
                      <a:pt x="19211" y="125213"/>
                    </a:cubicBezTo>
                    <a:cubicBezTo>
                      <a:pt x="19211" y="114664"/>
                      <a:pt x="10549" y="106088"/>
                      <a:pt x="0" y="106088"/>
                    </a:cubicBezTo>
                    <a:lnTo>
                      <a:pt x="0" y="12350"/>
                    </a:lnTo>
                    <a:cubicBezTo>
                      <a:pt x="8147" y="12350"/>
                      <a:pt x="15266" y="7204"/>
                      <a:pt x="17924" y="0"/>
                    </a:cubicBezTo>
                    <a:lnTo>
                      <a:pt x="97597" y="30103"/>
                    </a:lnTo>
                    <a:cubicBezTo>
                      <a:pt x="96740" y="32247"/>
                      <a:pt x="96225" y="34648"/>
                      <a:pt x="96225" y="37135"/>
                    </a:cubicBezTo>
                    <a:cubicBezTo>
                      <a:pt x="96225" y="47684"/>
                      <a:pt x="104801" y="56260"/>
                      <a:pt x="115350" y="56260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99D4C42-54B5-C3B7-D1FC-6AA4C5576F91}"/>
                  </a:ext>
                </a:extLst>
              </p:cNvPr>
              <p:cNvSpPr/>
              <p:nvPr/>
            </p:nvSpPr>
            <p:spPr>
              <a:xfrm>
                <a:off x="1126031" y="5819231"/>
                <a:ext cx="78815" cy="32503"/>
              </a:xfrm>
              <a:custGeom>
                <a:avLst/>
                <a:gdLst>
                  <a:gd name="csX0" fmla="*/ 78815 w 78815"/>
                  <a:gd name="csY0" fmla="*/ 32504 h 32503"/>
                  <a:gd name="csX1" fmla="*/ 0 w 78815"/>
                  <a:gd name="csY1" fmla="*/ 0 h 3250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78815" h="32503">
                    <a:moveTo>
                      <a:pt x="78815" y="32504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008FAC3-B1D2-1F09-2378-EF7952D48BDD}"/>
                  </a:ext>
                </a:extLst>
              </p:cNvPr>
              <p:cNvSpPr/>
              <p:nvPr/>
            </p:nvSpPr>
            <p:spPr>
              <a:xfrm>
                <a:off x="1126031" y="5998045"/>
                <a:ext cx="78729" cy="30188"/>
              </a:xfrm>
              <a:custGeom>
                <a:avLst/>
                <a:gdLst>
                  <a:gd name="csX0" fmla="*/ 78730 w 78729"/>
                  <a:gd name="csY0" fmla="*/ 0 h 30188"/>
                  <a:gd name="csX1" fmla="*/ 0 w 78729"/>
                  <a:gd name="csY1" fmla="*/ 30188 h 3018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78729" h="30188">
                    <a:moveTo>
                      <a:pt x="78730" y="0"/>
                    </a:moveTo>
                    <a:lnTo>
                      <a:pt x="0" y="30188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4EC068FF-D2C5-37C7-FD98-619EE1E52808}"/>
                  </a:ext>
                </a:extLst>
              </p:cNvPr>
              <p:cNvSpPr/>
              <p:nvPr/>
            </p:nvSpPr>
            <p:spPr>
              <a:xfrm>
                <a:off x="1222685" y="5878321"/>
                <a:ext cx="8576" cy="93738"/>
              </a:xfrm>
              <a:custGeom>
                <a:avLst/>
                <a:gdLst>
                  <a:gd name="csX0" fmla="*/ 0 w 8576"/>
                  <a:gd name="csY0" fmla="*/ 93738 h 93738"/>
                  <a:gd name="csX1" fmla="*/ 0 w 8576"/>
                  <a:gd name="csY1" fmla="*/ 0 h 937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8576" h="93738">
                    <a:moveTo>
                      <a:pt x="0" y="93738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BBE4945D-EAB8-1BC3-40C8-2FD825BCDD3F}"/>
                  </a:ext>
                </a:extLst>
              </p:cNvPr>
              <p:cNvSpPr/>
              <p:nvPr/>
            </p:nvSpPr>
            <p:spPr>
              <a:xfrm>
                <a:off x="1010424" y="5818974"/>
                <a:ext cx="80101" cy="32846"/>
              </a:xfrm>
              <a:custGeom>
                <a:avLst/>
                <a:gdLst>
                  <a:gd name="csX0" fmla="*/ 80102 w 80101"/>
                  <a:gd name="csY0" fmla="*/ 0 h 32846"/>
                  <a:gd name="csX1" fmla="*/ 0 w 80101"/>
                  <a:gd name="csY1" fmla="*/ 32847 h 3284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80101" h="32846">
                    <a:moveTo>
                      <a:pt x="80102" y="0"/>
                    </a:moveTo>
                    <a:lnTo>
                      <a:pt x="0" y="32847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42EC8B87-F045-3D15-C43B-C97688AA68CA}"/>
                  </a:ext>
                </a:extLst>
              </p:cNvPr>
              <p:cNvSpPr/>
              <p:nvPr/>
            </p:nvSpPr>
            <p:spPr>
              <a:xfrm>
                <a:off x="1125945" y="5865971"/>
                <a:ext cx="78815" cy="30016"/>
              </a:xfrm>
              <a:custGeom>
                <a:avLst/>
                <a:gdLst>
                  <a:gd name="csX0" fmla="*/ 78815 w 78815"/>
                  <a:gd name="csY0" fmla="*/ 0 h 30016"/>
                  <a:gd name="csX1" fmla="*/ 0 w 78815"/>
                  <a:gd name="csY1" fmla="*/ 30017 h 3001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78815" h="30016">
                    <a:moveTo>
                      <a:pt x="78815" y="0"/>
                    </a:moveTo>
                    <a:lnTo>
                      <a:pt x="0" y="30017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769D9AB-9167-52E9-381A-4A8D437EB389}"/>
                </a:ext>
              </a:extLst>
            </p:cNvPr>
            <p:cNvSpPr/>
            <p:nvPr/>
          </p:nvSpPr>
          <p:spPr>
            <a:xfrm>
              <a:off x="1088982" y="5883724"/>
              <a:ext cx="38421" cy="38421"/>
            </a:xfrm>
            <a:custGeom>
              <a:avLst/>
              <a:gdLst>
                <a:gd name="csX0" fmla="*/ 38336 w 38421"/>
                <a:gd name="csY0" fmla="*/ 19297 h 38421"/>
                <a:gd name="csX1" fmla="*/ 19125 w 38421"/>
                <a:gd name="csY1" fmla="*/ 38421 h 38421"/>
                <a:gd name="csX2" fmla="*/ 0 w 38421"/>
                <a:gd name="csY2" fmla="*/ 19297 h 38421"/>
                <a:gd name="csX3" fmla="*/ 1372 w 38421"/>
                <a:gd name="csY3" fmla="*/ 12264 h 38421"/>
                <a:gd name="csX4" fmla="*/ 19211 w 38421"/>
                <a:gd name="csY4" fmla="*/ 0 h 38421"/>
                <a:gd name="csX5" fmla="*/ 37049 w 38421"/>
                <a:gd name="csY5" fmla="*/ 12178 h 38421"/>
                <a:gd name="csX6" fmla="*/ 38421 w 38421"/>
                <a:gd name="csY6" fmla="*/ 19297 h 3842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8421" h="38421">
                  <a:moveTo>
                    <a:pt x="38336" y="19297"/>
                  </a:moveTo>
                  <a:cubicBezTo>
                    <a:pt x="38336" y="29845"/>
                    <a:pt x="29759" y="38421"/>
                    <a:pt x="19125" y="38421"/>
                  </a:cubicBezTo>
                  <a:cubicBezTo>
                    <a:pt x="8490" y="38421"/>
                    <a:pt x="0" y="29845"/>
                    <a:pt x="0" y="19297"/>
                  </a:cubicBezTo>
                  <a:cubicBezTo>
                    <a:pt x="0" y="16809"/>
                    <a:pt x="515" y="14408"/>
                    <a:pt x="1372" y="12264"/>
                  </a:cubicBezTo>
                  <a:cubicBezTo>
                    <a:pt x="4202" y="5146"/>
                    <a:pt x="11063" y="0"/>
                    <a:pt x="19211" y="0"/>
                  </a:cubicBezTo>
                  <a:cubicBezTo>
                    <a:pt x="27358" y="0"/>
                    <a:pt x="34219" y="4974"/>
                    <a:pt x="37049" y="12178"/>
                  </a:cubicBezTo>
                  <a:cubicBezTo>
                    <a:pt x="37907" y="14322"/>
                    <a:pt x="38421" y="16724"/>
                    <a:pt x="38421" y="19297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3D733C12-4963-EF8C-DF24-7BBD2C20531D}"/>
                </a:ext>
              </a:extLst>
            </p:cNvPr>
            <p:cNvSpPr/>
            <p:nvPr/>
          </p:nvSpPr>
          <p:spPr>
            <a:xfrm>
              <a:off x="973546" y="5839900"/>
              <a:ext cx="38421" cy="38335"/>
            </a:xfrm>
            <a:custGeom>
              <a:avLst/>
              <a:gdLst>
                <a:gd name="csX0" fmla="*/ 38336 w 38421"/>
                <a:gd name="csY0" fmla="*/ 19211 h 38335"/>
                <a:gd name="csX1" fmla="*/ 37049 w 38421"/>
                <a:gd name="csY1" fmla="*/ 25986 h 38335"/>
                <a:gd name="csX2" fmla="*/ 19125 w 38421"/>
                <a:gd name="csY2" fmla="*/ 38336 h 38335"/>
                <a:gd name="csX3" fmla="*/ 0 w 38421"/>
                <a:gd name="csY3" fmla="*/ 19211 h 38335"/>
                <a:gd name="csX4" fmla="*/ 19125 w 38421"/>
                <a:gd name="csY4" fmla="*/ 0 h 38335"/>
                <a:gd name="csX5" fmla="*/ 36964 w 38421"/>
                <a:gd name="csY5" fmla="*/ 11921 h 38335"/>
                <a:gd name="csX6" fmla="*/ 38421 w 38421"/>
                <a:gd name="csY6" fmla="*/ 19211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8421" h="38335">
                  <a:moveTo>
                    <a:pt x="38336" y="19211"/>
                  </a:moveTo>
                  <a:cubicBezTo>
                    <a:pt x="38336" y="21612"/>
                    <a:pt x="37907" y="23928"/>
                    <a:pt x="37049" y="25986"/>
                  </a:cubicBezTo>
                  <a:cubicBezTo>
                    <a:pt x="34305" y="33190"/>
                    <a:pt x="27272" y="38336"/>
                    <a:pt x="19125" y="38336"/>
                  </a:cubicBezTo>
                  <a:cubicBezTo>
                    <a:pt x="8576" y="38336"/>
                    <a:pt x="0" y="29760"/>
                    <a:pt x="0" y="19211"/>
                  </a:cubicBezTo>
                  <a:cubicBezTo>
                    <a:pt x="0" y="8576"/>
                    <a:pt x="8576" y="0"/>
                    <a:pt x="19125" y="0"/>
                  </a:cubicBezTo>
                  <a:cubicBezTo>
                    <a:pt x="27101" y="0"/>
                    <a:pt x="34048" y="4974"/>
                    <a:pt x="36964" y="11921"/>
                  </a:cubicBezTo>
                  <a:cubicBezTo>
                    <a:pt x="37907" y="14151"/>
                    <a:pt x="38421" y="16638"/>
                    <a:pt x="38421" y="19211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A07C51F8-4E3F-C163-C221-315B5B99E9A6}"/>
                </a:ext>
              </a:extLst>
            </p:cNvPr>
            <p:cNvSpPr/>
            <p:nvPr/>
          </p:nvSpPr>
          <p:spPr>
            <a:xfrm>
              <a:off x="1203474" y="5839900"/>
              <a:ext cx="38507" cy="38335"/>
            </a:xfrm>
            <a:custGeom>
              <a:avLst/>
              <a:gdLst>
                <a:gd name="csX0" fmla="*/ 38421 w 38507"/>
                <a:gd name="csY0" fmla="*/ 19211 h 38335"/>
                <a:gd name="csX1" fmla="*/ 19211 w 38507"/>
                <a:gd name="csY1" fmla="*/ 38336 h 38335"/>
                <a:gd name="csX2" fmla="*/ 1286 w 38507"/>
                <a:gd name="csY2" fmla="*/ 26072 h 38335"/>
                <a:gd name="csX3" fmla="*/ 0 w 38507"/>
                <a:gd name="csY3" fmla="*/ 19211 h 38335"/>
                <a:gd name="csX4" fmla="*/ 1458 w 38507"/>
                <a:gd name="csY4" fmla="*/ 11835 h 38335"/>
                <a:gd name="csX5" fmla="*/ 19296 w 38507"/>
                <a:gd name="csY5" fmla="*/ 0 h 38335"/>
                <a:gd name="csX6" fmla="*/ 38507 w 38507"/>
                <a:gd name="csY6" fmla="*/ 19211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8507" h="38335">
                  <a:moveTo>
                    <a:pt x="38421" y="19211"/>
                  </a:moveTo>
                  <a:cubicBezTo>
                    <a:pt x="38421" y="29760"/>
                    <a:pt x="29759" y="38336"/>
                    <a:pt x="19211" y="38336"/>
                  </a:cubicBezTo>
                  <a:cubicBezTo>
                    <a:pt x="11063" y="38336"/>
                    <a:pt x="4031" y="33276"/>
                    <a:pt x="1286" y="26072"/>
                  </a:cubicBezTo>
                  <a:cubicBezTo>
                    <a:pt x="429" y="23928"/>
                    <a:pt x="0" y="21612"/>
                    <a:pt x="0" y="19211"/>
                  </a:cubicBezTo>
                  <a:cubicBezTo>
                    <a:pt x="0" y="16552"/>
                    <a:pt x="515" y="14065"/>
                    <a:pt x="1458" y="11835"/>
                  </a:cubicBezTo>
                  <a:cubicBezTo>
                    <a:pt x="4374" y="4803"/>
                    <a:pt x="11235" y="0"/>
                    <a:pt x="19296" y="0"/>
                  </a:cubicBezTo>
                  <a:cubicBezTo>
                    <a:pt x="29845" y="0"/>
                    <a:pt x="38507" y="8576"/>
                    <a:pt x="38507" y="19211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EA26A5B-216D-2C4E-72C0-283338F55B8B}"/>
                </a:ext>
              </a:extLst>
            </p:cNvPr>
            <p:cNvSpPr/>
            <p:nvPr/>
          </p:nvSpPr>
          <p:spPr>
            <a:xfrm>
              <a:off x="1088982" y="6015970"/>
              <a:ext cx="38335" cy="38335"/>
            </a:xfrm>
            <a:custGeom>
              <a:avLst/>
              <a:gdLst>
                <a:gd name="csX0" fmla="*/ 38336 w 38335"/>
                <a:gd name="csY0" fmla="*/ 19125 h 38335"/>
                <a:gd name="csX1" fmla="*/ 19125 w 38335"/>
                <a:gd name="csY1" fmla="*/ 38336 h 38335"/>
                <a:gd name="csX2" fmla="*/ 0 w 38335"/>
                <a:gd name="csY2" fmla="*/ 19125 h 38335"/>
                <a:gd name="csX3" fmla="*/ 1286 w 38335"/>
                <a:gd name="csY3" fmla="*/ 12350 h 38335"/>
                <a:gd name="csX4" fmla="*/ 19125 w 38335"/>
                <a:gd name="csY4" fmla="*/ 0 h 38335"/>
                <a:gd name="csX5" fmla="*/ 37049 w 38335"/>
                <a:gd name="csY5" fmla="*/ 12264 h 38335"/>
                <a:gd name="csX6" fmla="*/ 38336 w 38335"/>
                <a:gd name="csY6" fmla="*/ 19125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8335" h="38335">
                  <a:moveTo>
                    <a:pt x="38336" y="19125"/>
                  </a:moveTo>
                  <a:cubicBezTo>
                    <a:pt x="38336" y="29759"/>
                    <a:pt x="29759" y="38336"/>
                    <a:pt x="19125" y="38336"/>
                  </a:cubicBezTo>
                  <a:cubicBezTo>
                    <a:pt x="8490" y="38336"/>
                    <a:pt x="0" y="29759"/>
                    <a:pt x="0" y="19125"/>
                  </a:cubicBezTo>
                  <a:cubicBezTo>
                    <a:pt x="0" y="16724"/>
                    <a:pt x="429" y="14408"/>
                    <a:pt x="1286" y="12350"/>
                  </a:cubicBezTo>
                  <a:cubicBezTo>
                    <a:pt x="4031" y="5146"/>
                    <a:pt x="10978" y="0"/>
                    <a:pt x="19125" y="0"/>
                  </a:cubicBezTo>
                  <a:cubicBezTo>
                    <a:pt x="27272" y="0"/>
                    <a:pt x="34305" y="5060"/>
                    <a:pt x="37049" y="12264"/>
                  </a:cubicBezTo>
                  <a:cubicBezTo>
                    <a:pt x="37907" y="14408"/>
                    <a:pt x="38336" y="16724"/>
                    <a:pt x="38336" y="19125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3A28B5F-4B5C-A53D-C8B1-3444A61117BE}"/>
                </a:ext>
              </a:extLst>
            </p:cNvPr>
            <p:cNvSpPr/>
            <p:nvPr/>
          </p:nvSpPr>
          <p:spPr>
            <a:xfrm>
              <a:off x="973546" y="5972059"/>
              <a:ext cx="38335" cy="38335"/>
            </a:xfrm>
            <a:custGeom>
              <a:avLst/>
              <a:gdLst>
                <a:gd name="csX0" fmla="*/ 38336 w 38335"/>
                <a:gd name="csY0" fmla="*/ 19125 h 38335"/>
                <a:gd name="csX1" fmla="*/ 37049 w 38335"/>
                <a:gd name="csY1" fmla="*/ 25986 h 38335"/>
                <a:gd name="csX2" fmla="*/ 19125 w 38335"/>
                <a:gd name="csY2" fmla="*/ 38336 h 38335"/>
                <a:gd name="csX3" fmla="*/ 0 w 38335"/>
                <a:gd name="csY3" fmla="*/ 19125 h 38335"/>
                <a:gd name="csX4" fmla="*/ 19125 w 38335"/>
                <a:gd name="csY4" fmla="*/ 0 h 38335"/>
                <a:gd name="csX5" fmla="*/ 38336 w 38335"/>
                <a:gd name="csY5" fmla="*/ 19125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38335" h="38335">
                  <a:moveTo>
                    <a:pt x="38336" y="19125"/>
                  </a:moveTo>
                  <a:cubicBezTo>
                    <a:pt x="38336" y="21526"/>
                    <a:pt x="37907" y="23842"/>
                    <a:pt x="37049" y="25986"/>
                  </a:cubicBezTo>
                  <a:cubicBezTo>
                    <a:pt x="34305" y="33190"/>
                    <a:pt x="27272" y="38336"/>
                    <a:pt x="19125" y="38336"/>
                  </a:cubicBezTo>
                  <a:cubicBezTo>
                    <a:pt x="8576" y="38336"/>
                    <a:pt x="0" y="29759"/>
                    <a:pt x="0" y="19125"/>
                  </a:cubicBezTo>
                  <a:cubicBezTo>
                    <a:pt x="0" y="8490"/>
                    <a:pt x="8576" y="0"/>
                    <a:pt x="19125" y="0"/>
                  </a:cubicBezTo>
                  <a:cubicBezTo>
                    <a:pt x="29674" y="0"/>
                    <a:pt x="38336" y="8576"/>
                    <a:pt x="38336" y="19125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65E57B03-A5CA-555E-5684-3C498B78B2D4}"/>
                </a:ext>
              </a:extLst>
            </p:cNvPr>
            <p:cNvSpPr/>
            <p:nvPr/>
          </p:nvSpPr>
          <p:spPr>
            <a:xfrm>
              <a:off x="1203474" y="5972059"/>
              <a:ext cx="38421" cy="38335"/>
            </a:xfrm>
            <a:custGeom>
              <a:avLst/>
              <a:gdLst>
                <a:gd name="csX0" fmla="*/ 38421 w 38421"/>
                <a:gd name="csY0" fmla="*/ 19125 h 38335"/>
                <a:gd name="csX1" fmla="*/ 19211 w 38421"/>
                <a:gd name="csY1" fmla="*/ 38336 h 38335"/>
                <a:gd name="csX2" fmla="*/ 1286 w 38421"/>
                <a:gd name="csY2" fmla="*/ 25986 h 38335"/>
                <a:gd name="csX3" fmla="*/ 0 w 38421"/>
                <a:gd name="csY3" fmla="*/ 19125 h 38335"/>
                <a:gd name="csX4" fmla="*/ 19211 w 38421"/>
                <a:gd name="csY4" fmla="*/ 0 h 38335"/>
                <a:gd name="csX5" fmla="*/ 38421 w 38421"/>
                <a:gd name="csY5" fmla="*/ 19125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38421" h="38335">
                  <a:moveTo>
                    <a:pt x="38421" y="19125"/>
                  </a:moveTo>
                  <a:cubicBezTo>
                    <a:pt x="38421" y="29759"/>
                    <a:pt x="29759" y="38336"/>
                    <a:pt x="19211" y="38336"/>
                  </a:cubicBezTo>
                  <a:cubicBezTo>
                    <a:pt x="11063" y="38336"/>
                    <a:pt x="3945" y="33190"/>
                    <a:pt x="1286" y="25986"/>
                  </a:cubicBezTo>
                  <a:cubicBezTo>
                    <a:pt x="429" y="23842"/>
                    <a:pt x="0" y="21526"/>
                    <a:pt x="0" y="19125"/>
                  </a:cubicBezTo>
                  <a:cubicBezTo>
                    <a:pt x="0" y="8576"/>
                    <a:pt x="8662" y="0"/>
                    <a:pt x="19211" y="0"/>
                  </a:cubicBezTo>
                  <a:cubicBezTo>
                    <a:pt x="29759" y="0"/>
                    <a:pt x="38421" y="8576"/>
                    <a:pt x="38421" y="19125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4EA6158A-E0B1-38A7-594D-1DF9D2C5946C}"/>
                </a:ext>
              </a:extLst>
            </p:cNvPr>
            <p:cNvSpPr/>
            <p:nvPr/>
          </p:nvSpPr>
          <p:spPr>
            <a:xfrm>
              <a:off x="1088982" y="5792645"/>
              <a:ext cx="38507" cy="38335"/>
            </a:xfrm>
            <a:custGeom>
              <a:avLst/>
              <a:gdLst>
                <a:gd name="csX0" fmla="*/ 38507 w 38507"/>
                <a:gd name="csY0" fmla="*/ 19125 h 38335"/>
                <a:gd name="csX1" fmla="*/ 36964 w 38507"/>
                <a:gd name="csY1" fmla="*/ 26586 h 38335"/>
                <a:gd name="csX2" fmla="*/ 36964 w 38507"/>
                <a:gd name="csY2" fmla="*/ 26586 h 38335"/>
                <a:gd name="csX3" fmla="*/ 19211 w 38507"/>
                <a:gd name="csY3" fmla="*/ 38336 h 38335"/>
                <a:gd name="csX4" fmla="*/ 1458 w 38507"/>
                <a:gd name="csY4" fmla="*/ 26415 h 38335"/>
                <a:gd name="csX5" fmla="*/ 0 w 38507"/>
                <a:gd name="csY5" fmla="*/ 19211 h 38335"/>
                <a:gd name="csX6" fmla="*/ 19125 w 38507"/>
                <a:gd name="csY6" fmla="*/ 0 h 38335"/>
                <a:gd name="csX7" fmla="*/ 38336 w 38507"/>
                <a:gd name="csY7" fmla="*/ 19211 h 383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38507" h="38335">
                  <a:moveTo>
                    <a:pt x="38507" y="19125"/>
                  </a:moveTo>
                  <a:cubicBezTo>
                    <a:pt x="38507" y="21784"/>
                    <a:pt x="37907" y="24271"/>
                    <a:pt x="36964" y="26586"/>
                  </a:cubicBezTo>
                  <a:lnTo>
                    <a:pt x="36964" y="26586"/>
                  </a:lnTo>
                  <a:cubicBezTo>
                    <a:pt x="33962" y="33533"/>
                    <a:pt x="27187" y="38336"/>
                    <a:pt x="19211" y="38336"/>
                  </a:cubicBezTo>
                  <a:cubicBezTo>
                    <a:pt x="11235" y="38336"/>
                    <a:pt x="4374" y="33362"/>
                    <a:pt x="1458" y="26415"/>
                  </a:cubicBezTo>
                  <a:cubicBezTo>
                    <a:pt x="515" y="24185"/>
                    <a:pt x="0" y="21784"/>
                    <a:pt x="0" y="19211"/>
                  </a:cubicBezTo>
                  <a:cubicBezTo>
                    <a:pt x="0" y="8576"/>
                    <a:pt x="8576" y="0"/>
                    <a:pt x="19125" y="0"/>
                  </a:cubicBezTo>
                  <a:cubicBezTo>
                    <a:pt x="29674" y="0"/>
                    <a:pt x="38336" y="8576"/>
                    <a:pt x="38336" y="19211"/>
                  </a:cubicBezTo>
                  <a:close/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Title 9">
            <a:extLst>
              <a:ext uri="{FF2B5EF4-FFF2-40B4-BE49-F238E27FC236}">
                <a16:creationId xmlns:a16="http://schemas.microsoft.com/office/drawing/2014/main" id="{9B834A28-4612-F6E2-9C16-BC7B710053AF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In summary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475DA7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48BB02D-BC44-6EB0-B3F6-A3C199306C7D}"/>
              </a:ext>
            </a:extLst>
          </p:cNvPr>
          <p:cNvSpPr/>
          <p:nvPr/>
        </p:nvSpPr>
        <p:spPr>
          <a:xfrm>
            <a:off x="8673541" y="4268036"/>
            <a:ext cx="3039031" cy="1942264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0000">
                <a:schemeClr val="tx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11480" rIns="90000" bIns="90000" rtlCol="0" anchor="t"/>
          <a:lstStyle/>
          <a:p>
            <a:pPr algn="ctr">
              <a:defRPr/>
            </a:pPr>
            <a:r>
              <a:rPr kumimoji="0" lang="en-US" alt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[There is] a huge range of courses, and, yes, you do get that paralysis thing; I don't know what to choose. Then there's also a lack of courses that are more specifically about sensitive data curation and handling sensitive data, so there's a funny imbalance there.</a:t>
            </a:r>
            <a:br>
              <a:rPr kumimoji="0" lang="en-US" alt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altLang="en-US" sz="1200" b="1" i="1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's too much choice and not enough choice at the same time</a:t>
            </a:r>
            <a:endParaRPr lang="en-GB" sz="12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646B5CEC-1874-3928-BF05-201FEF0068E7}"/>
              </a:ext>
            </a:extLst>
          </p:cNvPr>
          <p:cNvCxnSpPr>
            <a:cxnSpLocks/>
          </p:cNvCxnSpPr>
          <p:nvPr/>
        </p:nvCxnSpPr>
        <p:spPr>
          <a:xfrm>
            <a:off x="8908828" y="4499741"/>
            <a:ext cx="256845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BB33570-003C-FC8F-A9B4-4E762602C6B8}"/>
              </a:ext>
            </a:extLst>
          </p:cNvPr>
          <p:cNvGrpSpPr/>
          <p:nvPr/>
        </p:nvGrpSpPr>
        <p:grpSpPr>
          <a:xfrm>
            <a:off x="10056335" y="4365489"/>
            <a:ext cx="273442" cy="268504"/>
            <a:chOff x="9408331" y="3564328"/>
            <a:chExt cx="442762" cy="442762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1239F292-646E-15DE-2AEB-B8B5E6F62F88}"/>
                </a:ext>
              </a:extLst>
            </p:cNvPr>
            <p:cNvSpPr/>
            <p:nvPr/>
          </p:nvSpPr>
          <p:spPr>
            <a:xfrm>
              <a:off x="9408331" y="3564328"/>
              <a:ext cx="442762" cy="44276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E5E0B677-314C-636A-E56D-A2503947EB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532678" y="3698210"/>
              <a:ext cx="194069" cy="174998"/>
            </a:xfrm>
            <a:custGeom>
              <a:avLst/>
              <a:gdLst>
                <a:gd name="T0" fmla="*/ 50 w 133"/>
                <a:gd name="T1" fmla="*/ 84 h 150"/>
                <a:gd name="T2" fmla="*/ 50 w 133"/>
                <a:gd name="T3" fmla="*/ 150 h 150"/>
                <a:gd name="T4" fmla="*/ 0 w 133"/>
                <a:gd name="T5" fmla="*/ 150 h 150"/>
                <a:gd name="T6" fmla="*/ 0 w 133"/>
                <a:gd name="T7" fmla="*/ 98 h 150"/>
                <a:gd name="T8" fmla="*/ 11 w 133"/>
                <a:gd name="T9" fmla="*/ 33 h 150"/>
                <a:gd name="T10" fmla="*/ 42 w 133"/>
                <a:gd name="T11" fmla="*/ 0 h 150"/>
                <a:gd name="T12" fmla="*/ 54 w 133"/>
                <a:gd name="T13" fmla="*/ 22 h 150"/>
                <a:gd name="T14" fmla="*/ 34 w 133"/>
                <a:gd name="T15" fmla="*/ 42 h 150"/>
                <a:gd name="T16" fmla="*/ 26 w 133"/>
                <a:gd name="T17" fmla="*/ 84 h 150"/>
                <a:gd name="T18" fmla="*/ 50 w 133"/>
                <a:gd name="T19" fmla="*/ 84 h 150"/>
                <a:gd name="T20" fmla="*/ 129 w 133"/>
                <a:gd name="T21" fmla="*/ 84 h 150"/>
                <a:gd name="T22" fmla="*/ 129 w 133"/>
                <a:gd name="T23" fmla="*/ 150 h 150"/>
                <a:gd name="T24" fmla="*/ 79 w 133"/>
                <a:gd name="T25" fmla="*/ 150 h 150"/>
                <a:gd name="T26" fmla="*/ 79 w 133"/>
                <a:gd name="T27" fmla="*/ 98 h 150"/>
                <a:gd name="T28" fmla="*/ 90 w 133"/>
                <a:gd name="T29" fmla="*/ 33 h 150"/>
                <a:gd name="T30" fmla="*/ 122 w 133"/>
                <a:gd name="T31" fmla="*/ 0 h 150"/>
                <a:gd name="T32" fmla="*/ 133 w 133"/>
                <a:gd name="T33" fmla="*/ 22 h 150"/>
                <a:gd name="T34" fmla="*/ 113 w 133"/>
                <a:gd name="T35" fmla="*/ 42 h 150"/>
                <a:gd name="T36" fmla="*/ 105 w 133"/>
                <a:gd name="T37" fmla="*/ 84 h 150"/>
                <a:gd name="T38" fmla="*/ 129 w 133"/>
                <a:gd name="T39" fmla="*/ 8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3" h="150">
                  <a:moveTo>
                    <a:pt x="50" y="84"/>
                  </a:moveTo>
                  <a:cubicBezTo>
                    <a:pt x="50" y="150"/>
                    <a:pt x="50" y="150"/>
                    <a:pt x="50" y="150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69"/>
                    <a:pt x="4" y="47"/>
                    <a:pt x="11" y="33"/>
                  </a:cubicBezTo>
                  <a:cubicBezTo>
                    <a:pt x="18" y="18"/>
                    <a:pt x="28" y="7"/>
                    <a:pt x="42" y="0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45" y="26"/>
                    <a:pt x="38" y="33"/>
                    <a:pt x="34" y="42"/>
                  </a:cubicBezTo>
                  <a:cubicBezTo>
                    <a:pt x="29" y="51"/>
                    <a:pt x="26" y="65"/>
                    <a:pt x="26" y="84"/>
                  </a:cubicBezTo>
                  <a:lnTo>
                    <a:pt x="50" y="84"/>
                  </a:lnTo>
                  <a:close/>
                  <a:moveTo>
                    <a:pt x="129" y="84"/>
                  </a:moveTo>
                  <a:cubicBezTo>
                    <a:pt x="129" y="150"/>
                    <a:pt x="129" y="150"/>
                    <a:pt x="129" y="150"/>
                  </a:cubicBezTo>
                  <a:cubicBezTo>
                    <a:pt x="79" y="150"/>
                    <a:pt x="79" y="150"/>
                    <a:pt x="79" y="150"/>
                  </a:cubicBezTo>
                  <a:cubicBezTo>
                    <a:pt x="79" y="98"/>
                    <a:pt x="79" y="98"/>
                    <a:pt x="79" y="98"/>
                  </a:cubicBezTo>
                  <a:cubicBezTo>
                    <a:pt x="79" y="69"/>
                    <a:pt x="83" y="47"/>
                    <a:pt x="90" y="33"/>
                  </a:cubicBezTo>
                  <a:cubicBezTo>
                    <a:pt x="97" y="18"/>
                    <a:pt x="108" y="7"/>
                    <a:pt x="122" y="0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24" y="26"/>
                    <a:pt x="118" y="33"/>
                    <a:pt x="113" y="42"/>
                  </a:cubicBezTo>
                  <a:cubicBezTo>
                    <a:pt x="108" y="51"/>
                    <a:pt x="105" y="65"/>
                    <a:pt x="105" y="84"/>
                  </a:cubicBezTo>
                  <a:lnTo>
                    <a:pt x="129" y="8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12616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AF13AB-876F-E90D-D4B1-8DB0E7B98D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9">
            <a:extLst>
              <a:ext uri="{FF2B5EF4-FFF2-40B4-BE49-F238E27FC236}">
                <a16:creationId xmlns:a16="http://schemas.microsoft.com/office/drawing/2014/main" id="{9E0F1AFB-2B7F-13DD-0CB0-C98C39900AD9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Thank you, let’s chat!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475DA7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7485FB6-D473-C986-BB80-1D1433E2B2DA}"/>
              </a:ext>
            </a:extLst>
          </p:cNvPr>
          <p:cNvSpPr txBox="1">
            <a:spLocks/>
          </p:cNvSpPr>
          <p:nvPr/>
        </p:nvSpPr>
        <p:spPr>
          <a:xfrm>
            <a:off x="2489199" y="2070822"/>
            <a:ext cx="8932779" cy="1109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What are you</a:t>
            </a:r>
            <a:r>
              <a:rPr lang="en-US" sz="2800" b="0" dirty="0">
                <a:solidFill>
                  <a:schemeClr val="tx2"/>
                </a:solidFill>
                <a:latin typeface="Calibri" panose="020F0502020204030204"/>
              </a:rPr>
              <a:t>r </a:t>
            </a:r>
            <a:r>
              <a:rPr kumimoji="0" lang="en-US" sz="2800" b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immediate reactions?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b="0" dirty="0">
                <a:solidFill>
                  <a:schemeClr val="tx2"/>
                </a:solidFill>
                <a:latin typeface="Calibri" panose="020F0502020204030204"/>
              </a:rPr>
              <a:t>What surprised you (what didn’t)?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Do these results align with your own experiences</a:t>
            </a:r>
            <a:r>
              <a:rPr kumimoji="0" lang="en-US" sz="2800" b="0" i="1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?</a:t>
            </a:r>
            <a:endParaRPr kumimoji="0" lang="en-GB" sz="2800" b="0" i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77" name="Google Shape;249;p10" descr="A group of people in a meeting room&#10;&#10;AI-generated content may be incorrect.">
            <a:extLst>
              <a:ext uri="{FF2B5EF4-FFF2-40B4-BE49-F238E27FC236}">
                <a16:creationId xmlns:a16="http://schemas.microsoft.com/office/drawing/2014/main" id="{B61C4DC9-AE5C-3E7E-8CB0-9170F1D0F480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21385" t="33396" r="22855" b="32185"/>
          <a:stretch>
            <a:fillRect/>
          </a:stretch>
        </p:blipFill>
        <p:spPr>
          <a:xfrm>
            <a:off x="2489199" y="4097205"/>
            <a:ext cx="5391782" cy="24961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1906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EC59CA-C5EA-6F85-924E-5D143FC79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33188" y="6339811"/>
            <a:ext cx="323849" cy="180000"/>
          </a:xfrm>
        </p:spPr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8E14249A-E0E1-5578-665E-F6C56DE2504C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People, skills, and perspectives</a:t>
            </a:r>
            <a:endParaRPr lang="en-GB" sz="2400" dirty="0"/>
          </a:p>
        </p:txBody>
      </p:sp>
      <p:pic>
        <p:nvPicPr>
          <p:cNvPr id="123" name="Picture 2" descr="HDR UK ECR Conference">
            <a:extLst>
              <a:ext uri="{FF2B5EF4-FFF2-40B4-BE49-F238E27FC236}">
                <a16:creationId xmlns:a16="http://schemas.microsoft.com/office/drawing/2014/main" id="{4D095173-727A-9AC3-5656-EDCC7172AE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2" b="11112"/>
          <a:stretch>
            <a:fillRect/>
          </a:stretch>
        </p:blipFill>
        <p:spPr bwMode="auto">
          <a:xfrm>
            <a:off x="7334187" y="1526176"/>
            <a:ext cx="2130396" cy="1104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" name="Picture 6" descr="Lancashire Teaching Hospitals Data Science holding Team of the Year award">
            <a:extLst>
              <a:ext uri="{FF2B5EF4-FFF2-40B4-BE49-F238E27FC236}">
                <a16:creationId xmlns:a16="http://schemas.microsoft.com/office/drawing/2014/main" id="{826BF5EF-7D6F-DF0D-039C-ACE5DE7980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6" b="19456"/>
          <a:stretch>
            <a:fillRect/>
          </a:stretch>
        </p:blipFill>
        <p:spPr bwMode="auto">
          <a:xfrm>
            <a:off x="4736096" y="1527366"/>
            <a:ext cx="2481592" cy="1102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8">
            <a:extLst>
              <a:ext uri="{FF2B5EF4-FFF2-40B4-BE49-F238E27FC236}">
                <a16:creationId xmlns:a16="http://schemas.microsoft.com/office/drawing/2014/main" id="{D04E5B84-B7BD-0D64-2309-EF2D291287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1" b="11111"/>
          <a:stretch>
            <a:fillRect/>
          </a:stretch>
        </p:blipFill>
        <p:spPr bwMode="auto">
          <a:xfrm>
            <a:off x="2489202" y="1527366"/>
            <a:ext cx="2130395" cy="1102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0" descr="HDR UK">
            <a:extLst>
              <a:ext uri="{FF2B5EF4-FFF2-40B4-BE49-F238E27FC236}">
                <a16:creationId xmlns:a16="http://schemas.microsoft.com/office/drawing/2014/main" id="{FBEA207D-CB47-7366-7910-B4BB803BFF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1" b="11111"/>
          <a:stretch>
            <a:fillRect/>
          </a:stretch>
        </p:blipFill>
        <p:spPr bwMode="auto">
          <a:xfrm>
            <a:off x="9581083" y="1527265"/>
            <a:ext cx="2130395" cy="1102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6" name="Arrow: Chevron 115">
            <a:extLst>
              <a:ext uri="{FF2B5EF4-FFF2-40B4-BE49-F238E27FC236}">
                <a16:creationId xmlns:a16="http://schemas.microsoft.com/office/drawing/2014/main" id="{FE6BDBF9-3580-E992-83A7-EFCAC1E22465}"/>
              </a:ext>
            </a:extLst>
          </p:cNvPr>
          <p:cNvSpPr/>
          <p:nvPr/>
        </p:nvSpPr>
        <p:spPr>
          <a:xfrm>
            <a:off x="2489204" y="3365188"/>
            <a:ext cx="1366031" cy="385216"/>
          </a:xfrm>
          <a:prstGeom prst="chevron">
            <a:avLst>
              <a:gd name="adj" fmla="val 34578"/>
            </a:avLst>
          </a:prstGeom>
          <a:gradFill flip="none" rotWithShape="1">
            <a:gsLst>
              <a:gs pos="0">
                <a:schemeClr val="accent1"/>
              </a:gs>
              <a:gs pos="70000">
                <a:schemeClr val="tx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Find Data</a:t>
            </a:r>
          </a:p>
        </p:txBody>
      </p:sp>
      <p:sp>
        <p:nvSpPr>
          <p:cNvPr id="117" name="Arrow: Chevron 116">
            <a:extLst>
              <a:ext uri="{FF2B5EF4-FFF2-40B4-BE49-F238E27FC236}">
                <a16:creationId xmlns:a16="http://schemas.microsoft.com/office/drawing/2014/main" id="{C8EAACAD-939F-8154-28A8-DE456B42545A}"/>
              </a:ext>
            </a:extLst>
          </p:cNvPr>
          <p:cNvSpPr/>
          <p:nvPr/>
        </p:nvSpPr>
        <p:spPr>
          <a:xfrm>
            <a:off x="3813839" y="3365188"/>
            <a:ext cx="1366031" cy="385216"/>
          </a:xfrm>
          <a:prstGeom prst="chevron">
            <a:avLst>
              <a:gd name="adj" fmla="val 34578"/>
            </a:avLst>
          </a:prstGeom>
          <a:gradFill flip="none" rotWithShape="1">
            <a:gsLst>
              <a:gs pos="0">
                <a:schemeClr val="accent1"/>
              </a:gs>
              <a:gs pos="70000">
                <a:schemeClr val="tx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Access Data</a:t>
            </a:r>
          </a:p>
        </p:txBody>
      </p:sp>
      <p:sp>
        <p:nvSpPr>
          <p:cNvPr id="118" name="Arrow: Chevron 117">
            <a:extLst>
              <a:ext uri="{FF2B5EF4-FFF2-40B4-BE49-F238E27FC236}">
                <a16:creationId xmlns:a16="http://schemas.microsoft.com/office/drawing/2014/main" id="{B092E2FD-2666-2D40-047C-45B068B551EB}"/>
              </a:ext>
            </a:extLst>
          </p:cNvPr>
          <p:cNvSpPr/>
          <p:nvPr/>
        </p:nvSpPr>
        <p:spPr>
          <a:xfrm>
            <a:off x="5138473" y="3365188"/>
            <a:ext cx="1366031" cy="385216"/>
          </a:xfrm>
          <a:prstGeom prst="chevron">
            <a:avLst>
              <a:gd name="adj" fmla="val 34578"/>
            </a:avLst>
          </a:prstGeom>
          <a:gradFill flip="none" rotWithShape="1">
            <a:gsLst>
              <a:gs pos="0">
                <a:schemeClr val="accent1"/>
              </a:gs>
              <a:gs pos="70000">
                <a:schemeClr val="tx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Link Data</a:t>
            </a:r>
          </a:p>
        </p:txBody>
      </p:sp>
      <p:sp>
        <p:nvSpPr>
          <p:cNvPr id="119" name="Arrow: Chevron 118">
            <a:extLst>
              <a:ext uri="{FF2B5EF4-FFF2-40B4-BE49-F238E27FC236}">
                <a16:creationId xmlns:a16="http://schemas.microsoft.com/office/drawing/2014/main" id="{FBCB8613-13EC-7257-ABF0-674FA813B8BA}"/>
              </a:ext>
            </a:extLst>
          </p:cNvPr>
          <p:cNvSpPr/>
          <p:nvPr/>
        </p:nvSpPr>
        <p:spPr>
          <a:xfrm>
            <a:off x="6463106" y="3365188"/>
            <a:ext cx="1366031" cy="385216"/>
          </a:xfrm>
          <a:prstGeom prst="chevron">
            <a:avLst>
              <a:gd name="adj" fmla="val 34578"/>
            </a:avLst>
          </a:prstGeom>
          <a:gradFill flip="none" rotWithShape="1">
            <a:gsLst>
              <a:gs pos="0">
                <a:schemeClr val="accent1"/>
              </a:gs>
              <a:gs pos="70000">
                <a:schemeClr val="tx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urate Data</a:t>
            </a:r>
          </a:p>
        </p:txBody>
      </p:sp>
      <p:sp>
        <p:nvSpPr>
          <p:cNvPr id="120" name="Arrow: Chevron 119">
            <a:extLst>
              <a:ext uri="{FF2B5EF4-FFF2-40B4-BE49-F238E27FC236}">
                <a16:creationId xmlns:a16="http://schemas.microsoft.com/office/drawing/2014/main" id="{6F735654-82B2-7AE3-7617-8B10332E5BB8}"/>
              </a:ext>
            </a:extLst>
          </p:cNvPr>
          <p:cNvSpPr/>
          <p:nvPr/>
        </p:nvSpPr>
        <p:spPr>
          <a:xfrm>
            <a:off x="7787740" y="3365188"/>
            <a:ext cx="1366031" cy="385216"/>
          </a:xfrm>
          <a:prstGeom prst="chevron">
            <a:avLst>
              <a:gd name="adj" fmla="val 34578"/>
            </a:avLst>
          </a:prstGeom>
          <a:gradFill flip="none" rotWithShape="1">
            <a:gsLst>
              <a:gs pos="0">
                <a:schemeClr val="accent1"/>
              </a:gs>
              <a:gs pos="70000">
                <a:schemeClr val="tx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Analyse Data</a:t>
            </a:r>
          </a:p>
        </p:txBody>
      </p:sp>
      <p:sp>
        <p:nvSpPr>
          <p:cNvPr id="121" name="Arrow: Chevron 120">
            <a:extLst>
              <a:ext uri="{FF2B5EF4-FFF2-40B4-BE49-F238E27FC236}">
                <a16:creationId xmlns:a16="http://schemas.microsoft.com/office/drawing/2014/main" id="{7B7FBD00-51B9-CCC3-60D1-4C443EB767CA}"/>
              </a:ext>
            </a:extLst>
          </p:cNvPr>
          <p:cNvSpPr/>
          <p:nvPr/>
        </p:nvSpPr>
        <p:spPr>
          <a:xfrm>
            <a:off x="9112375" y="3365188"/>
            <a:ext cx="1366031" cy="385216"/>
          </a:xfrm>
          <a:prstGeom prst="chevron">
            <a:avLst>
              <a:gd name="adj" fmla="val 34578"/>
            </a:avLst>
          </a:prstGeom>
          <a:gradFill flip="none" rotWithShape="1">
            <a:gsLst>
              <a:gs pos="0">
                <a:schemeClr val="accent1"/>
              </a:gs>
              <a:gs pos="70000">
                <a:schemeClr val="tx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Create Insights</a:t>
            </a:r>
          </a:p>
        </p:txBody>
      </p:sp>
      <p:sp>
        <p:nvSpPr>
          <p:cNvPr id="122" name="Arrow: Chevron 121">
            <a:extLst>
              <a:ext uri="{FF2B5EF4-FFF2-40B4-BE49-F238E27FC236}">
                <a16:creationId xmlns:a16="http://schemas.microsoft.com/office/drawing/2014/main" id="{C1962F8D-B05F-F7CB-5FAB-FA13A77D19B4}"/>
              </a:ext>
            </a:extLst>
          </p:cNvPr>
          <p:cNvSpPr/>
          <p:nvPr/>
        </p:nvSpPr>
        <p:spPr>
          <a:xfrm>
            <a:off x="10437010" y="3365188"/>
            <a:ext cx="1366031" cy="385216"/>
          </a:xfrm>
          <a:prstGeom prst="chevron">
            <a:avLst>
              <a:gd name="adj" fmla="val 34578"/>
            </a:avLst>
          </a:prstGeom>
          <a:gradFill flip="none" rotWithShape="1">
            <a:gsLst>
              <a:gs pos="0">
                <a:schemeClr val="accent1"/>
              </a:gs>
              <a:gs pos="70000">
                <a:schemeClr val="tx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Improve Health</a:t>
            </a: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ED6EE673-0022-7467-0011-81519290531C}"/>
              </a:ext>
            </a:extLst>
          </p:cNvPr>
          <p:cNvGrpSpPr/>
          <p:nvPr/>
        </p:nvGrpSpPr>
        <p:grpSpPr>
          <a:xfrm>
            <a:off x="2489202" y="3850355"/>
            <a:ext cx="9227662" cy="383138"/>
            <a:chOff x="839788" y="4326632"/>
            <a:chExt cx="10879137" cy="340074"/>
          </a:xfrm>
        </p:grpSpPr>
        <p:sp>
          <p:nvSpPr>
            <p:cNvPr id="128" name="Rectangle: Rounded Corners 127">
              <a:extLst>
                <a:ext uri="{FF2B5EF4-FFF2-40B4-BE49-F238E27FC236}">
                  <a16:creationId xmlns:a16="http://schemas.microsoft.com/office/drawing/2014/main" id="{AAAC025A-347B-8E29-A60A-B7CCBA524C45}"/>
                </a:ext>
              </a:extLst>
            </p:cNvPr>
            <p:cNvSpPr/>
            <p:nvPr/>
          </p:nvSpPr>
          <p:spPr>
            <a:xfrm>
              <a:off x="6886575" y="4326632"/>
              <a:ext cx="4832350" cy="340074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Statisticians</a:t>
              </a:r>
            </a:p>
          </p:txBody>
        </p:sp>
        <p:sp>
          <p:nvSpPr>
            <p:cNvPr id="129" name="Rectangle: Rounded Corners 128">
              <a:extLst>
                <a:ext uri="{FF2B5EF4-FFF2-40B4-BE49-F238E27FC236}">
                  <a16:creationId xmlns:a16="http://schemas.microsoft.com/office/drawing/2014/main" id="{6579FE9C-300C-3565-F7E4-54696E59F538}"/>
                </a:ext>
              </a:extLst>
            </p:cNvPr>
            <p:cNvSpPr/>
            <p:nvPr/>
          </p:nvSpPr>
          <p:spPr>
            <a:xfrm>
              <a:off x="839788" y="4326632"/>
              <a:ext cx="6526212" cy="340074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Software Developers, and Research Software Engineers</a:t>
              </a: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5DAE5D7F-414E-8C11-CA1D-BF76FC53AF74}"/>
              </a:ext>
            </a:extLst>
          </p:cNvPr>
          <p:cNvGrpSpPr/>
          <p:nvPr/>
        </p:nvGrpSpPr>
        <p:grpSpPr>
          <a:xfrm>
            <a:off x="2489202" y="4333444"/>
            <a:ext cx="9227662" cy="383138"/>
            <a:chOff x="839788" y="4764782"/>
            <a:chExt cx="10879137" cy="340074"/>
          </a:xfrm>
        </p:grpSpPr>
        <p:sp>
          <p:nvSpPr>
            <p:cNvPr id="131" name="Rectangle: Rounded Corners 130">
              <a:extLst>
                <a:ext uri="{FF2B5EF4-FFF2-40B4-BE49-F238E27FC236}">
                  <a16:creationId xmlns:a16="http://schemas.microsoft.com/office/drawing/2014/main" id="{239845C1-C8FE-A5DA-4D79-1C2E565A2236}"/>
                </a:ext>
              </a:extLst>
            </p:cNvPr>
            <p:cNvSpPr/>
            <p:nvPr/>
          </p:nvSpPr>
          <p:spPr>
            <a:xfrm>
              <a:off x="4487863" y="4764782"/>
              <a:ext cx="7231062" cy="340074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Data Analysts</a:t>
              </a:r>
            </a:p>
          </p:txBody>
        </p:sp>
        <p:sp>
          <p:nvSpPr>
            <p:cNvPr id="132" name="Rectangle: Rounded Corners 131">
              <a:extLst>
                <a:ext uri="{FF2B5EF4-FFF2-40B4-BE49-F238E27FC236}">
                  <a16:creationId xmlns:a16="http://schemas.microsoft.com/office/drawing/2014/main" id="{F625228F-228E-53D4-FE05-8FD8FFE2994F}"/>
                </a:ext>
              </a:extLst>
            </p:cNvPr>
            <p:cNvSpPr/>
            <p:nvPr/>
          </p:nvSpPr>
          <p:spPr>
            <a:xfrm>
              <a:off x="839788" y="4764782"/>
              <a:ext cx="3941762" cy="340074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Computer Science Architects</a:t>
              </a: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51BFA18E-2860-1F30-5EEC-9C02E9786E5C}"/>
              </a:ext>
            </a:extLst>
          </p:cNvPr>
          <p:cNvGrpSpPr/>
          <p:nvPr/>
        </p:nvGrpSpPr>
        <p:grpSpPr>
          <a:xfrm>
            <a:off x="2489201" y="4816533"/>
            <a:ext cx="9222277" cy="383138"/>
            <a:chOff x="839787" y="5221982"/>
            <a:chExt cx="10872788" cy="340074"/>
          </a:xfrm>
        </p:grpSpPr>
        <p:sp>
          <p:nvSpPr>
            <p:cNvPr id="134" name="Rectangle: Rounded Corners 133">
              <a:extLst>
                <a:ext uri="{FF2B5EF4-FFF2-40B4-BE49-F238E27FC236}">
                  <a16:creationId xmlns:a16="http://schemas.microsoft.com/office/drawing/2014/main" id="{250ECA45-D110-F9BA-AE05-0B1FEEAA5A00}"/>
                </a:ext>
              </a:extLst>
            </p:cNvPr>
            <p:cNvSpPr/>
            <p:nvPr/>
          </p:nvSpPr>
          <p:spPr>
            <a:xfrm>
              <a:off x="6841723" y="5221982"/>
              <a:ext cx="4870852" cy="340074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Clinicians &amp; Practitioners</a:t>
              </a:r>
            </a:p>
          </p:txBody>
        </p:sp>
        <p:sp>
          <p:nvSpPr>
            <p:cNvPr id="135" name="Rectangle: Rounded Corners 134">
              <a:extLst>
                <a:ext uri="{FF2B5EF4-FFF2-40B4-BE49-F238E27FC236}">
                  <a16:creationId xmlns:a16="http://schemas.microsoft.com/office/drawing/2014/main" id="{7F2FB40C-F0A5-4977-5154-98E127780657}"/>
                </a:ext>
              </a:extLst>
            </p:cNvPr>
            <p:cNvSpPr/>
            <p:nvPr/>
          </p:nvSpPr>
          <p:spPr>
            <a:xfrm>
              <a:off x="839787" y="5221982"/>
              <a:ext cx="6295623" cy="340074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Legal, Ethical, IG, PPIE Experts</a:t>
              </a:r>
            </a:p>
          </p:txBody>
        </p:sp>
      </p:grpSp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8B83D6FF-2890-5BDB-34A5-BF6492445E05}"/>
              </a:ext>
            </a:extLst>
          </p:cNvPr>
          <p:cNvSpPr/>
          <p:nvPr/>
        </p:nvSpPr>
        <p:spPr>
          <a:xfrm>
            <a:off x="2489201" y="5299622"/>
            <a:ext cx="9227662" cy="383138"/>
          </a:xfrm>
          <a:prstGeom prst="roundRect">
            <a:avLst>
              <a:gd name="adj" fmla="val 50000"/>
            </a:avLst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Project Management and Operational Leadership</a:t>
            </a:r>
          </a:p>
        </p:txBody>
      </p:sp>
      <p:sp>
        <p:nvSpPr>
          <p:cNvPr id="137" name="Rectangle: Rounded Corners 136">
            <a:extLst>
              <a:ext uri="{FF2B5EF4-FFF2-40B4-BE49-F238E27FC236}">
                <a16:creationId xmlns:a16="http://schemas.microsoft.com/office/drawing/2014/main" id="{BAC0835F-CEFB-1187-AC08-20E7175B131F}"/>
              </a:ext>
            </a:extLst>
          </p:cNvPr>
          <p:cNvSpPr/>
          <p:nvPr/>
        </p:nvSpPr>
        <p:spPr>
          <a:xfrm>
            <a:off x="2489201" y="5782712"/>
            <a:ext cx="9227662" cy="383138"/>
          </a:xfrm>
          <a:prstGeom prst="roundRect">
            <a:avLst>
              <a:gd name="adj" fmla="val 50000"/>
            </a:avLst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Public and Patients</a:t>
            </a:r>
          </a:p>
        </p:txBody>
      </p:sp>
      <p:grpSp>
        <p:nvGrpSpPr>
          <p:cNvPr id="211" name="Group 210">
            <a:extLst>
              <a:ext uri="{FF2B5EF4-FFF2-40B4-BE49-F238E27FC236}">
                <a16:creationId xmlns:a16="http://schemas.microsoft.com/office/drawing/2014/main" id="{8DFA0B1A-C6C9-FB2F-2D1D-4BC8C6D33E7D}"/>
              </a:ext>
            </a:extLst>
          </p:cNvPr>
          <p:cNvGrpSpPr/>
          <p:nvPr/>
        </p:nvGrpSpPr>
        <p:grpSpPr>
          <a:xfrm>
            <a:off x="2891401" y="2730235"/>
            <a:ext cx="561638" cy="561638"/>
            <a:chOff x="2891400" y="2730235"/>
            <a:chExt cx="561638" cy="561638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931D2B1F-3252-D080-CC5A-5E6E8F3F7853}"/>
                </a:ext>
              </a:extLst>
            </p:cNvPr>
            <p:cNvSpPr/>
            <p:nvPr/>
          </p:nvSpPr>
          <p:spPr>
            <a:xfrm>
              <a:off x="2891400" y="2730235"/>
              <a:ext cx="561638" cy="56163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1A648119-2F10-2877-3ED3-D68C5BB81199}"/>
                </a:ext>
              </a:extLst>
            </p:cNvPr>
            <p:cNvGrpSpPr/>
            <p:nvPr/>
          </p:nvGrpSpPr>
          <p:grpSpPr>
            <a:xfrm>
              <a:off x="3012155" y="2858263"/>
              <a:ext cx="320127" cy="305582"/>
              <a:chOff x="1435494" y="3058041"/>
              <a:chExt cx="423481" cy="404241"/>
            </a:xfrm>
          </p:grpSpPr>
          <p:grpSp>
            <p:nvGrpSpPr>
              <p:cNvPr id="145" name="Graphic 6">
                <a:extLst>
                  <a:ext uri="{FF2B5EF4-FFF2-40B4-BE49-F238E27FC236}">
                    <a16:creationId xmlns:a16="http://schemas.microsoft.com/office/drawing/2014/main" id="{A35BD74B-6652-FD99-D361-7C6B767C8A31}"/>
                  </a:ext>
                </a:extLst>
              </p:cNvPr>
              <p:cNvGrpSpPr/>
              <p:nvPr/>
            </p:nvGrpSpPr>
            <p:grpSpPr>
              <a:xfrm>
                <a:off x="1435494" y="3058041"/>
                <a:ext cx="269557" cy="299656"/>
                <a:chOff x="1435494" y="3058041"/>
                <a:chExt cx="269557" cy="299656"/>
              </a:xfrm>
              <a:noFill/>
            </p:grpSpPr>
            <p:sp>
              <p:nvSpPr>
                <p:cNvPr id="149" name="Oval 148">
                  <a:extLst>
                    <a:ext uri="{FF2B5EF4-FFF2-40B4-BE49-F238E27FC236}">
                      <a16:creationId xmlns:a16="http://schemas.microsoft.com/office/drawing/2014/main" id="{71813087-3A70-628F-D7F3-A9C78A14ED58}"/>
                    </a:ext>
                  </a:extLst>
                </p:cNvPr>
                <p:cNvSpPr/>
                <p:nvPr/>
              </p:nvSpPr>
              <p:spPr>
                <a:xfrm>
                  <a:off x="1435494" y="3058041"/>
                  <a:ext cx="269557" cy="53911"/>
                </a:xfrm>
                <a:prstGeom prst="ellips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59479B02-FBF5-54D5-C2B3-40DD38DC90F9}"/>
                    </a:ext>
                  </a:extLst>
                </p:cNvPr>
                <p:cNvSpPr/>
                <p:nvPr/>
              </p:nvSpPr>
              <p:spPr>
                <a:xfrm>
                  <a:off x="1483024" y="3074995"/>
                  <a:ext cx="174688" cy="22002"/>
                </a:xfrm>
                <a:custGeom>
                  <a:avLst/>
                  <a:gdLst>
                    <a:gd name="csX0" fmla="*/ 124396 w 174688"/>
                    <a:gd name="csY0" fmla="*/ 0 h 22002"/>
                    <a:gd name="csX1" fmla="*/ 174689 w 174688"/>
                    <a:gd name="csY1" fmla="*/ 10478 h 22002"/>
                    <a:gd name="csX2" fmla="*/ 87344 w 174688"/>
                    <a:gd name="csY2" fmla="*/ 22003 h 22002"/>
                    <a:gd name="csX3" fmla="*/ 0 w 174688"/>
                    <a:gd name="csY3" fmla="*/ 10478 h 22002"/>
                    <a:gd name="csX4" fmla="*/ 36290 w 174688"/>
                    <a:gd name="csY4" fmla="*/ 1143 h 2200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174688" h="22002">
                      <a:moveTo>
                        <a:pt x="124396" y="0"/>
                      </a:moveTo>
                      <a:cubicBezTo>
                        <a:pt x="154115" y="1810"/>
                        <a:pt x="174689" y="5810"/>
                        <a:pt x="174689" y="10478"/>
                      </a:cubicBezTo>
                      <a:cubicBezTo>
                        <a:pt x="174689" y="16859"/>
                        <a:pt x="135541" y="22003"/>
                        <a:pt x="87344" y="22003"/>
                      </a:cubicBezTo>
                      <a:cubicBezTo>
                        <a:pt x="39148" y="22003"/>
                        <a:pt x="0" y="16859"/>
                        <a:pt x="0" y="10478"/>
                      </a:cubicBezTo>
                      <a:cubicBezTo>
                        <a:pt x="0" y="6572"/>
                        <a:pt x="14288" y="3238"/>
                        <a:pt x="36290" y="1143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51" name="Freeform: Shape 150">
                  <a:extLst>
                    <a:ext uri="{FF2B5EF4-FFF2-40B4-BE49-F238E27FC236}">
                      <a16:creationId xmlns:a16="http://schemas.microsoft.com/office/drawing/2014/main" id="{5E8E3AA9-9676-01E2-9C28-18200A145641}"/>
                    </a:ext>
                  </a:extLst>
                </p:cNvPr>
                <p:cNvSpPr/>
                <p:nvPr/>
              </p:nvSpPr>
              <p:spPr>
                <a:xfrm>
                  <a:off x="1435589" y="3087187"/>
                  <a:ext cx="269462" cy="92868"/>
                </a:xfrm>
                <a:custGeom>
                  <a:avLst/>
                  <a:gdLst>
                    <a:gd name="csX0" fmla="*/ 269462 w 269462"/>
                    <a:gd name="csY0" fmla="*/ 0 h 92868"/>
                    <a:gd name="csX1" fmla="*/ 269462 w 269462"/>
                    <a:gd name="csY1" fmla="*/ 65913 h 92868"/>
                    <a:gd name="csX2" fmla="*/ 134779 w 269462"/>
                    <a:gd name="csY2" fmla="*/ 92869 h 92868"/>
                    <a:gd name="csX3" fmla="*/ 0 w 269462"/>
                    <a:gd name="csY3" fmla="*/ 66008 h 92868"/>
                    <a:gd name="csX4" fmla="*/ 0 w 269462"/>
                    <a:gd name="csY4" fmla="*/ 55912 h 92868"/>
                    <a:gd name="csX5" fmla="*/ 0 w 269462"/>
                    <a:gd name="csY5" fmla="*/ 0 h 9286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269462" h="92868">
                      <a:moveTo>
                        <a:pt x="269462" y="0"/>
                      </a:moveTo>
                      <a:lnTo>
                        <a:pt x="269462" y="65913"/>
                      </a:lnTo>
                      <a:cubicBezTo>
                        <a:pt x="269558" y="80772"/>
                        <a:pt x="209264" y="92869"/>
                        <a:pt x="134779" y="92869"/>
                      </a:cubicBezTo>
                      <a:cubicBezTo>
                        <a:pt x="60293" y="92869"/>
                        <a:pt x="0" y="80867"/>
                        <a:pt x="0" y="66008"/>
                      </a:cubicBezTo>
                      <a:lnTo>
                        <a:pt x="0" y="55912"/>
                      </a:lnTo>
                      <a:cubicBezTo>
                        <a:pt x="0" y="55912"/>
                        <a:pt x="0" y="0"/>
                        <a:pt x="0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52" name="Oval 151">
                  <a:extLst>
                    <a:ext uri="{FF2B5EF4-FFF2-40B4-BE49-F238E27FC236}">
                      <a16:creationId xmlns:a16="http://schemas.microsoft.com/office/drawing/2014/main" id="{5FE1934B-2852-58F0-5481-BC447813A5D1}"/>
                    </a:ext>
                  </a:extLst>
                </p:cNvPr>
                <p:cNvSpPr/>
                <p:nvPr/>
              </p:nvSpPr>
              <p:spPr>
                <a:xfrm>
                  <a:off x="1612754" y="3133765"/>
                  <a:ext cx="24384" cy="24383"/>
                </a:xfrm>
                <a:prstGeom prst="ellips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53" name="Freeform: Shape 152">
                  <a:extLst>
                    <a:ext uri="{FF2B5EF4-FFF2-40B4-BE49-F238E27FC236}">
                      <a16:creationId xmlns:a16="http://schemas.microsoft.com/office/drawing/2014/main" id="{73E4F227-7C63-AA30-A21A-6F3543FA8F1F}"/>
                    </a:ext>
                  </a:extLst>
                </p:cNvPr>
                <p:cNvSpPr/>
                <p:nvPr/>
              </p:nvSpPr>
              <p:spPr>
                <a:xfrm>
                  <a:off x="1435494" y="3163292"/>
                  <a:ext cx="269557" cy="36099"/>
                </a:xfrm>
                <a:custGeom>
                  <a:avLst/>
                  <a:gdLst>
                    <a:gd name="csX0" fmla="*/ 261842 w 269557"/>
                    <a:gd name="csY0" fmla="*/ 95 h 36099"/>
                    <a:gd name="csX1" fmla="*/ 269558 w 269557"/>
                    <a:gd name="csY1" fmla="*/ 9144 h 36099"/>
                    <a:gd name="csX2" fmla="*/ 134779 w 269557"/>
                    <a:gd name="csY2" fmla="*/ 36100 h 36099"/>
                    <a:gd name="csX3" fmla="*/ 0 w 269557"/>
                    <a:gd name="csY3" fmla="*/ 9049 h 36099"/>
                    <a:gd name="csX4" fmla="*/ 7715 w 269557"/>
                    <a:gd name="csY4" fmla="*/ 0 h 3609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69557" h="36099">
                      <a:moveTo>
                        <a:pt x="261842" y="95"/>
                      </a:moveTo>
                      <a:cubicBezTo>
                        <a:pt x="266891" y="2953"/>
                        <a:pt x="269558" y="5905"/>
                        <a:pt x="269558" y="9144"/>
                      </a:cubicBezTo>
                      <a:cubicBezTo>
                        <a:pt x="269558" y="24003"/>
                        <a:pt x="209169" y="36100"/>
                        <a:pt x="134779" y="36100"/>
                      </a:cubicBezTo>
                      <a:cubicBezTo>
                        <a:pt x="60389" y="36100"/>
                        <a:pt x="0" y="23908"/>
                        <a:pt x="0" y="9049"/>
                      </a:cubicBezTo>
                      <a:cubicBezTo>
                        <a:pt x="0" y="5905"/>
                        <a:pt x="2762" y="2858"/>
                        <a:pt x="7715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54" name="Freeform: Shape 153">
                  <a:extLst>
                    <a:ext uri="{FF2B5EF4-FFF2-40B4-BE49-F238E27FC236}">
                      <a16:creationId xmlns:a16="http://schemas.microsoft.com/office/drawing/2014/main" id="{1E23672F-72A9-3E33-9B1A-4631244C381A}"/>
                    </a:ext>
                  </a:extLst>
                </p:cNvPr>
                <p:cNvSpPr/>
                <p:nvPr/>
              </p:nvSpPr>
              <p:spPr>
                <a:xfrm>
                  <a:off x="1435684" y="3174722"/>
                  <a:ext cx="182213" cy="92868"/>
                </a:xfrm>
                <a:custGeom>
                  <a:avLst/>
                  <a:gdLst>
                    <a:gd name="csX0" fmla="*/ 0 w 182213"/>
                    <a:gd name="csY0" fmla="*/ 0 h 92868"/>
                    <a:gd name="csX1" fmla="*/ 0 w 182213"/>
                    <a:gd name="csY1" fmla="*/ 65913 h 92868"/>
                    <a:gd name="csX2" fmla="*/ 134684 w 182213"/>
                    <a:gd name="csY2" fmla="*/ 92869 h 92868"/>
                    <a:gd name="csX3" fmla="*/ 182213 w 182213"/>
                    <a:gd name="csY3" fmla="*/ 91154 h 9286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</a:cxnLst>
                  <a:rect l="l" t="t" r="r" b="b"/>
                  <a:pathLst>
                    <a:path w="182213" h="92868">
                      <a:moveTo>
                        <a:pt x="0" y="0"/>
                      </a:moveTo>
                      <a:lnTo>
                        <a:pt x="0" y="65913"/>
                      </a:lnTo>
                      <a:cubicBezTo>
                        <a:pt x="0" y="80772"/>
                        <a:pt x="60293" y="92869"/>
                        <a:pt x="134684" y="92869"/>
                      </a:cubicBezTo>
                      <a:cubicBezTo>
                        <a:pt x="151448" y="92869"/>
                        <a:pt x="167450" y="92297"/>
                        <a:pt x="182213" y="91154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55" name="Freeform: Shape 154">
                  <a:extLst>
                    <a:ext uri="{FF2B5EF4-FFF2-40B4-BE49-F238E27FC236}">
                      <a16:creationId xmlns:a16="http://schemas.microsoft.com/office/drawing/2014/main" id="{4DE1AC5F-7453-C72A-617C-90523E6B1ACF}"/>
                    </a:ext>
                  </a:extLst>
                </p:cNvPr>
                <p:cNvSpPr/>
                <p:nvPr/>
              </p:nvSpPr>
              <p:spPr>
                <a:xfrm>
                  <a:off x="1705052" y="3174722"/>
                  <a:ext cx="9525" cy="34480"/>
                </a:xfrm>
                <a:custGeom>
                  <a:avLst/>
                  <a:gdLst>
                    <a:gd name="csX0" fmla="*/ 0 w 9525"/>
                    <a:gd name="csY0" fmla="*/ 34481 h 34480"/>
                    <a:gd name="csX1" fmla="*/ 0 w 9525"/>
                    <a:gd name="csY1" fmla="*/ 0 h 3448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9525" h="34480">
                      <a:moveTo>
                        <a:pt x="0" y="34481"/>
                      </a:moveTo>
                      <a:lnTo>
                        <a:pt x="0" y="0"/>
                      </a:lnTo>
                    </a:path>
                  </a:pathLst>
                </a:custGeom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56" name="Oval 155">
                  <a:extLst>
                    <a:ext uri="{FF2B5EF4-FFF2-40B4-BE49-F238E27FC236}">
                      <a16:creationId xmlns:a16="http://schemas.microsoft.com/office/drawing/2014/main" id="{85D1C039-4985-2708-0A8E-386C6722758A}"/>
                    </a:ext>
                  </a:extLst>
                </p:cNvPr>
                <p:cNvSpPr/>
                <p:nvPr/>
              </p:nvSpPr>
              <p:spPr>
                <a:xfrm>
                  <a:off x="1570273" y="3221109"/>
                  <a:ext cx="24384" cy="24384"/>
                </a:xfrm>
                <a:prstGeom prst="ellips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7BD24A49-73DA-C840-C895-7DB566E35A96}"/>
                    </a:ext>
                  </a:extLst>
                </p:cNvPr>
                <p:cNvSpPr/>
                <p:nvPr/>
              </p:nvSpPr>
              <p:spPr>
                <a:xfrm>
                  <a:off x="1435494" y="3253589"/>
                  <a:ext cx="174783" cy="35909"/>
                </a:xfrm>
                <a:custGeom>
                  <a:avLst/>
                  <a:gdLst>
                    <a:gd name="csX0" fmla="*/ 7715 w 174783"/>
                    <a:gd name="csY0" fmla="*/ 0 h 35909"/>
                    <a:gd name="csX1" fmla="*/ 0 w 174783"/>
                    <a:gd name="csY1" fmla="*/ 8953 h 35909"/>
                    <a:gd name="csX2" fmla="*/ 134779 w 174783"/>
                    <a:gd name="csY2" fmla="*/ 35909 h 35909"/>
                    <a:gd name="csX3" fmla="*/ 174784 w 174783"/>
                    <a:gd name="csY3" fmla="*/ 34671 h 3590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</a:cxnLst>
                  <a:rect l="l" t="t" r="r" b="b"/>
                  <a:pathLst>
                    <a:path w="174783" h="35909">
                      <a:moveTo>
                        <a:pt x="7715" y="0"/>
                      </a:moveTo>
                      <a:cubicBezTo>
                        <a:pt x="2762" y="2762"/>
                        <a:pt x="0" y="5810"/>
                        <a:pt x="0" y="8953"/>
                      </a:cubicBezTo>
                      <a:cubicBezTo>
                        <a:pt x="0" y="23908"/>
                        <a:pt x="60389" y="35909"/>
                        <a:pt x="134779" y="35909"/>
                      </a:cubicBezTo>
                      <a:cubicBezTo>
                        <a:pt x="148685" y="35909"/>
                        <a:pt x="162116" y="35528"/>
                        <a:pt x="174784" y="34671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E5807805-1413-1597-555E-FC38FAD2AEC5}"/>
                    </a:ext>
                  </a:extLst>
                </p:cNvPr>
                <p:cNvSpPr/>
                <p:nvPr/>
              </p:nvSpPr>
              <p:spPr>
                <a:xfrm>
                  <a:off x="1435684" y="3264829"/>
                  <a:ext cx="184594" cy="92868"/>
                </a:xfrm>
                <a:custGeom>
                  <a:avLst/>
                  <a:gdLst>
                    <a:gd name="csX0" fmla="*/ 0 w 184594"/>
                    <a:gd name="csY0" fmla="*/ 0 h 92868"/>
                    <a:gd name="csX1" fmla="*/ 0 w 184594"/>
                    <a:gd name="csY1" fmla="*/ 66008 h 92868"/>
                    <a:gd name="csX2" fmla="*/ 134684 w 184594"/>
                    <a:gd name="csY2" fmla="*/ 92869 h 92868"/>
                    <a:gd name="csX3" fmla="*/ 184595 w 184594"/>
                    <a:gd name="csY3" fmla="*/ 90964 h 9286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</a:cxnLst>
                  <a:rect l="l" t="t" r="r" b="b"/>
                  <a:pathLst>
                    <a:path w="184594" h="92868">
                      <a:moveTo>
                        <a:pt x="0" y="0"/>
                      </a:moveTo>
                      <a:lnTo>
                        <a:pt x="0" y="66008"/>
                      </a:lnTo>
                      <a:cubicBezTo>
                        <a:pt x="0" y="80867"/>
                        <a:pt x="60293" y="92869"/>
                        <a:pt x="134684" y="92869"/>
                      </a:cubicBezTo>
                      <a:cubicBezTo>
                        <a:pt x="152305" y="92869"/>
                        <a:pt x="169164" y="92202"/>
                        <a:pt x="184595" y="90964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59" name="Oval 158">
                  <a:extLst>
                    <a:ext uri="{FF2B5EF4-FFF2-40B4-BE49-F238E27FC236}">
                      <a16:creationId xmlns:a16="http://schemas.microsoft.com/office/drawing/2014/main" id="{A55A3D91-9B34-FCCA-A949-91D20859678C}"/>
                    </a:ext>
                  </a:extLst>
                </p:cNvPr>
                <p:cNvSpPr/>
                <p:nvPr/>
              </p:nvSpPr>
              <p:spPr>
                <a:xfrm>
                  <a:off x="1530077" y="3311311"/>
                  <a:ext cx="24383" cy="24384"/>
                </a:xfrm>
                <a:prstGeom prst="ellips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</p:grpSp>
          <p:grpSp>
            <p:nvGrpSpPr>
              <p:cNvPr id="146" name="Graphic 6">
                <a:extLst>
                  <a:ext uri="{FF2B5EF4-FFF2-40B4-BE49-F238E27FC236}">
                    <a16:creationId xmlns:a16="http://schemas.microsoft.com/office/drawing/2014/main" id="{04166B68-7E84-5081-2B9E-D54955453288}"/>
                  </a:ext>
                </a:extLst>
              </p:cNvPr>
              <p:cNvGrpSpPr/>
              <p:nvPr/>
            </p:nvGrpSpPr>
            <p:grpSpPr>
              <a:xfrm>
                <a:off x="1608277" y="3209203"/>
                <a:ext cx="250698" cy="253079"/>
                <a:chOff x="1608277" y="3209203"/>
                <a:chExt cx="250698" cy="253079"/>
              </a:xfrm>
              <a:noFill/>
            </p:grpSpPr>
            <p:sp>
              <p:nvSpPr>
                <p:cNvPr id="147" name="Freeform: Shape 146">
                  <a:extLst>
                    <a:ext uri="{FF2B5EF4-FFF2-40B4-BE49-F238E27FC236}">
                      <a16:creationId xmlns:a16="http://schemas.microsoft.com/office/drawing/2014/main" id="{86590AAF-6A4C-682F-E175-0BC795FBE350}"/>
                    </a:ext>
                  </a:extLst>
                </p:cNvPr>
                <p:cNvSpPr/>
                <p:nvPr/>
              </p:nvSpPr>
              <p:spPr>
                <a:xfrm>
                  <a:off x="1608277" y="3209203"/>
                  <a:ext cx="198501" cy="198500"/>
                </a:xfrm>
                <a:custGeom>
                  <a:avLst/>
                  <a:gdLst>
                    <a:gd name="csX0" fmla="*/ 198501 w 198501"/>
                    <a:gd name="csY0" fmla="*/ 99251 h 198500"/>
                    <a:gd name="csX1" fmla="*/ 168212 w 198501"/>
                    <a:gd name="csY1" fmla="*/ 170688 h 198500"/>
                    <a:gd name="csX2" fmla="*/ 99251 w 198501"/>
                    <a:gd name="csY2" fmla="*/ 198501 h 198500"/>
                    <a:gd name="csX3" fmla="*/ 12002 w 198501"/>
                    <a:gd name="csY3" fmla="*/ 146590 h 198500"/>
                    <a:gd name="csX4" fmla="*/ 0 w 198501"/>
                    <a:gd name="csY4" fmla="*/ 99251 h 198500"/>
                    <a:gd name="csX5" fmla="*/ 2000 w 198501"/>
                    <a:gd name="csY5" fmla="*/ 79057 h 198500"/>
                    <a:gd name="csX6" fmla="*/ 2096 w 198501"/>
                    <a:gd name="csY6" fmla="*/ 79057 h 198500"/>
                    <a:gd name="csX7" fmla="*/ 9620 w 198501"/>
                    <a:gd name="csY7" fmla="*/ 56674 h 198500"/>
                    <a:gd name="csX8" fmla="*/ 96774 w 198501"/>
                    <a:gd name="csY8" fmla="*/ 0 h 198500"/>
                    <a:gd name="csX9" fmla="*/ 99251 w 198501"/>
                    <a:gd name="csY9" fmla="*/ 0 h 198500"/>
                    <a:gd name="csX10" fmla="*/ 198501 w 198501"/>
                    <a:gd name="csY10" fmla="*/ 99251 h 19850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198501" h="198500">
                      <a:moveTo>
                        <a:pt x="198501" y="99251"/>
                      </a:moveTo>
                      <a:cubicBezTo>
                        <a:pt x="198501" y="127254"/>
                        <a:pt x="186880" y="152590"/>
                        <a:pt x="168212" y="170688"/>
                      </a:cubicBezTo>
                      <a:cubicBezTo>
                        <a:pt x="150400" y="187928"/>
                        <a:pt x="126016" y="198501"/>
                        <a:pt x="99251" y="198501"/>
                      </a:cubicBezTo>
                      <a:cubicBezTo>
                        <a:pt x="61532" y="198501"/>
                        <a:pt x="28766" y="177546"/>
                        <a:pt x="12002" y="146590"/>
                      </a:cubicBezTo>
                      <a:cubicBezTo>
                        <a:pt x="4382" y="132493"/>
                        <a:pt x="0" y="116395"/>
                        <a:pt x="0" y="99251"/>
                      </a:cubicBezTo>
                      <a:cubicBezTo>
                        <a:pt x="0" y="92297"/>
                        <a:pt x="667" y="85534"/>
                        <a:pt x="2000" y="79057"/>
                      </a:cubicBezTo>
                      <a:lnTo>
                        <a:pt x="2096" y="79057"/>
                      </a:lnTo>
                      <a:cubicBezTo>
                        <a:pt x="3715" y="71247"/>
                        <a:pt x="6191" y="63722"/>
                        <a:pt x="9620" y="56674"/>
                      </a:cubicBezTo>
                      <a:cubicBezTo>
                        <a:pt x="25146" y="23813"/>
                        <a:pt x="58198" y="952"/>
                        <a:pt x="96774" y="0"/>
                      </a:cubicBezTo>
                      <a:lnTo>
                        <a:pt x="99251" y="0"/>
                      </a:lnTo>
                      <a:cubicBezTo>
                        <a:pt x="154115" y="0"/>
                        <a:pt x="198501" y="44387"/>
                        <a:pt x="198501" y="99251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48" name="Freeform: Shape 147">
                  <a:extLst>
                    <a:ext uri="{FF2B5EF4-FFF2-40B4-BE49-F238E27FC236}">
                      <a16:creationId xmlns:a16="http://schemas.microsoft.com/office/drawing/2014/main" id="{61F55E23-429C-77D9-3069-89390381CCEE}"/>
                    </a:ext>
                  </a:extLst>
                </p:cNvPr>
                <p:cNvSpPr/>
                <p:nvPr/>
              </p:nvSpPr>
              <p:spPr>
                <a:xfrm>
                  <a:off x="1776203" y="3379605"/>
                  <a:ext cx="82772" cy="82677"/>
                </a:xfrm>
                <a:custGeom>
                  <a:avLst/>
                  <a:gdLst>
                    <a:gd name="csX0" fmla="*/ 0 w 82772"/>
                    <a:gd name="csY0" fmla="*/ 0 h 82677"/>
                    <a:gd name="csX1" fmla="*/ 82772 w 82772"/>
                    <a:gd name="csY1" fmla="*/ 82677 h 8267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82772" h="82677">
                      <a:moveTo>
                        <a:pt x="0" y="0"/>
                      </a:moveTo>
                      <a:lnTo>
                        <a:pt x="82772" y="82677"/>
                      </a:lnTo>
                    </a:path>
                  </a:pathLst>
                </a:custGeom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</p:grpSp>
        </p:grp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71BB4EA9-281E-A0E1-8CAA-91A89AD9F67A}"/>
              </a:ext>
            </a:extLst>
          </p:cNvPr>
          <p:cNvGrpSpPr/>
          <p:nvPr/>
        </p:nvGrpSpPr>
        <p:grpSpPr>
          <a:xfrm>
            <a:off x="4216035" y="2730235"/>
            <a:ext cx="561638" cy="561638"/>
            <a:chOff x="4216035" y="2730235"/>
            <a:chExt cx="561638" cy="561638"/>
          </a:xfrm>
        </p:grpSpPr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A0C7D8FF-5326-87FA-6ED0-D43F1256B546}"/>
                </a:ext>
              </a:extLst>
            </p:cNvPr>
            <p:cNvSpPr/>
            <p:nvPr/>
          </p:nvSpPr>
          <p:spPr>
            <a:xfrm>
              <a:off x="4216035" y="2730235"/>
              <a:ext cx="561638" cy="56163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57EBEB24-51B8-453E-CE35-668591A8C996}"/>
                </a:ext>
              </a:extLst>
            </p:cNvPr>
            <p:cNvGrpSpPr/>
            <p:nvPr/>
          </p:nvGrpSpPr>
          <p:grpSpPr>
            <a:xfrm>
              <a:off x="4358026" y="2872226"/>
              <a:ext cx="277656" cy="277656"/>
              <a:chOff x="3043075" y="3094391"/>
              <a:chExt cx="327348" cy="327348"/>
            </a:xfrm>
          </p:grpSpPr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A6A73951-C7DB-E238-BD89-097EDAF5C555}"/>
                  </a:ext>
                </a:extLst>
              </p:cNvPr>
              <p:cNvSpPr/>
              <p:nvPr/>
            </p:nvSpPr>
            <p:spPr>
              <a:xfrm>
                <a:off x="3114178" y="3094391"/>
                <a:ext cx="256245" cy="313113"/>
              </a:xfrm>
              <a:custGeom>
                <a:avLst/>
                <a:gdLst>
                  <a:gd name="csX0" fmla="*/ 199302 w 256245"/>
                  <a:gd name="csY0" fmla="*/ 313113 h 313113"/>
                  <a:gd name="csX1" fmla="*/ 256246 w 256245"/>
                  <a:gd name="csY1" fmla="*/ 313113 h 313113"/>
                  <a:gd name="csX2" fmla="*/ 256246 w 256245"/>
                  <a:gd name="csY2" fmla="*/ 128123 h 313113"/>
                  <a:gd name="csX3" fmla="*/ 227774 w 256245"/>
                  <a:gd name="csY3" fmla="*/ 128123 h 313113"/>
                  <a:gd name="csX4" fmla="*/ 227774 w 256245"/>
                  <a:gd name="csY4" fmla="*/ 99651 h 313113"/>
                  <a:gd name="csX5" fmla="*/ 128123 w 256245"/>
                  <a:gd name="csY5" fmla="*/ 0 h 313113"/>
                  <a:gd name="csX6" fmla="*/ 28472 w 256245"/>
                  <a:gd name="csY6" fmla="*/ 99651 h 313113"/>
                  <a:gd name="csX7" fmla="*/ 28472 w 256245"/>
                  <a:gd name="csY7" fmla="*/ 128123 h 313113"/>
                  <a:gd name="csX8" fmla="*/ 0 w 256245"/>
                  <a:gd name="csY8" fmla="*/ 128123 h 313113"/>
                  <a:gd name="csX9" fmla="*/ 0 w 256245"/>
                  <a:gd name="csY9" fmla="*/ 185067 h 313113"/>
                  <a:gd name="csX10" fmla="*/ 128123 w 256245"/>
                  <a:gd name="csY10" fmla="*/ 28472 h 313113"/>
                  <a:gd name="csX11" fmla="*/ 199302 w 256245"/>
                  <a:gd name="csY11" fmla="*/ 99651 h 313113"/>
                  <a:gd name="csX12" fmla="*/ 199302 w 256245"/>
                  <a:gd name="csY12" fmla="*/ 128123 h 313113"/>
                  <a:gd name="csX13" fmla="*/ 56944 w 256245"/>
                  <a:gd name="csY13" fmla="*/ 128123 h 313113"/>
                  <a:gd name="csX14" fmla="*/ 56944 w 256245"/>
                  <a:gd name="csY14" fmla="*/ 99651 h 313113"/>
                  <a:gd name="csX15" fmla="*/ 128123 w 256245"/>
                  <a:gd name="csY15" fmla="*/ 28472 h 31311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256245" h="313113">
                    <a:moveTo>
                      <a:pt x="199302" y="313113"/>
                    </a:moveTo>
                    <a:lnTo>
                      <a:pt x="256246" y="313113"/>
                    </a:lnTo>
                    <a:lnTo>
                      <a:pt x="256246" y="128123"/>
                    </a:lnTo>
                    <a:lnTo>
                      <a:pt x="227774" y="128123"/>
                    </a:lnTo>
                    <a:lnTo>
                      <a:pt x="227774" y="99651"/>
                    </a:lnTo>
                    <a:cubicBezTo>
                      <a:pt x="227774" y="44687"/>
                      <a:pt x="183087" y="0"/>
                      <a:pt x="128123" y="0"/>
                    </a:cubicBezTo>
                    <a:cubicBezTo>
                      <a:pt x="73159" y="0"/>
                      <a:pt x="28472" y="44687"/>
                      <a:pt x="28472" y="99651"/>
                    </a:cubicBezTo>
                    <a:lnTo>
                      <a:pt x="28472" y="128123"/>
                    </a:lnTo>
                    <a:lnTo>
                      <a:pt x="0" y="128123"/>
                    </a:lnTo>
                    <a:lnTo>
                      <a:pt x="0" y="185067"/>
                    </a:lnTo>
                    <a:moveTo>
                      <a:pt x="128123" y="28472"/>
                    </a:moveTo>
                    <a:cubicBezTo>
                      <a:pt x="167329" y="28472"/>
                      <a:pt x="199302" y="60445"/>
                      <a:pt x="199302" y="99651"/>
                    </a:cubicBezTo>
                    <a:lnTo>
                      <a:pt x="199302" y="128123"/>
                    </a:lnTo>
                    <a:lnTo>
                      <a:pt x="56944" y="128123"/>
                    </a:lnTo>
                    <a:lnTo>
                      <a:pt x="56944" y="99651"/>
                    </a:lnTo>
                    <a:cubicBezTo>
                      <a:pt x="56944" y="60445"/>
                      <a:pt x="88841" y="28472"/>
                      <a:pt x="128123" y="28472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2450C9DE-1F6A-7BBA-63F5-4D6C95972F14}"/>
                  </a:ext>
                </a:extLst>
              </p:cNvPr>
              <p:cNvSpPr/>
              <p:nvPr/>
            </p:nvSpPr>
            <p:spPr>
              <a:xfrm>
                <a:off x="3043075" y="3293617"/>
                <a:ext cx="256245" cy="128122"/>
              </a:xfrm>
              <a:custGeom>
                <a:avLst/>
                <a:gdLst>
                  <a:gd name="csX0" fmla="*/ 42708 w 256245"/>
                  <a:gd name="csY0" fmla="*/ 128123 h 128122"/>
                  <a:gd name="csX1" fmla="*/ 56944 w 256245"/>
                  <a:gd name="csY1" fmla="*/ 128123 h 128122"/>
                  <a:gd name="csX2" fmla="*/ 99651 w 256245"/>
                  <a:gd name="csY2" fmla="*/ 85415 h 128122"/>
                  <a:gd name="csX3" fmla="*/ 99651 w 256245"/>
                  <a:gd name="csY3" fmla="*/ 71179 h 128122"/>
                  <a:gd name="csX4" fmla="*/ 185067 w 256245"/>
                  <a:gd name="csY4" fmla="*/ 71179 h 128122"/>
                  <a:gd name="csX5" fmla="*/ 185067 w 256245"/>
                  <a:gd name="csY5" fmla="*/ 99651 h 128122"/>
                  <a:gd name="csX6" fmla="*/ 213538 w 256245"/>
                  <a:gd name="csY6" fmla="*/ 99651 h 128122"/>
                  <a:gd name="csX7" fmla="*/ 213538 w 256245"/>
                  <a:gd name="csY7" fmla="*/ 71179 h 128122"/>
                  <a:gd name="csX8" fmla="*/ 227774 w 256245"/>
                  <a:gd name="csY8" fmla="*/ 71179 h 128122"/>
                  <a:gd name="csX9" fmla="*/ 227774 w 256245"/>
                  <a:gd name="csY9" fmla="*/ 113887 h 128122"/>
                  <a:gd name="csX10" fmla="*/ 256246 w 256245"/>
                  <a:gd name="csY10" fmla="*/ 113887 h 128122"/>
                  <a:gd name="csX11" fmla="*/ 256246 w 256245"/>
                  <a:gd name="csY11" fmla="*/ 42708 h 128122"/>
                  <a:gd name="csX12" fmla="*/ 99651 w 256245"/>
                  <a:gd name="csY12" fmla="*/ 42708 h 128122"/>
                  <a:gd name="csX13" fmla="*/ 56944 w 256245"/>
                  <a:gd name="csY13" fmla="*/ 0 h 128122"/>
                  <a:gd name="csX14" fmla="*/ 42708 w 256245"/>
                  <a:gd name="csY14" fmla="*/ 0 h 128122"/>
                  <a:gd name="csX15" fmla="*/ 0 w 256245"/>
                  <a:gd name="csY15" fmla="*/ 42708 h 128122"/>
                  <a:gd name="csX16" fmla="*/ 0 w 256245"/>
                  <a:gd name="csY16" fmla="*/ 85415 h 128122"/>
                  <a:gd name="csX17" fmla="*/ 42708 w 256245"/>
                  <a:gd name="csY17" fmla="*/ 128123 h 128122"/>
                  <a:gd name="csX18" fmla="*/ 28472 w 256245"/>
                  <a:gd name="csY18" fmla="*/ 42708 h 128122"/>
                  <a:gd name="csX19" fmla="*/ 42708 w 256245"/>
                  <a:gd name="csY19" fmla="*/ 28472 h 128122"/>
                  <a:gd name="csX20" fmla="*/ 56944 w 256245"/>
                  <a:gd name="csY20" fmla="*/ 28472 h 128122"/>
                  <a:gd name="csX21" fmla="*/ 71179 w 256245"/>
                  <a:gd name="csY21" fmla="*/ 42708 h 128122"/>
                  <a:gd name="csX22" fmla="*/ 71179 w 256245"/>
                  <a:gd name="csY22" fmla="*/ 85415 h 128122"/>
                  <a:gd name="csX23" fmla="*/ 56944 w 256245"/>
                  <a:gd name="csY23" fmla="*/ 99651 h 128122"/>
                  <a:gd name="csX24" fmla="*/ 42708 w 256245"/>
                  <a:gd name="csY24" fmla="*/ 99651 h 128122"/>
                  <a:gd name="csX25" fmla="*/ 28472 w 256245"/>
                  <a:gd name="csY25" fmla="*/ 85415 h 128122"/>
                  <a:gd name="csX26" fmla="*/ 28472 w 256245"/>
                  <a:gd name="csY26" fmla="*/ 42708 h 12812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</a:cxnLst>
                <a:rect l="l" t="t" r="r" b="b"/>
                <a:pathLst>
                  <a:path w="256245" h="128122">
                    <a:moveTo>
                      <a:pt x="42708" y="128123"/>
                    </a:moveTo>
                    <a:lnTo>
                      <a:pt x="56944" y="128123"/>
                    </a:lnTo>
                    <a:cubicBezTo>
                      <a:pt x="80467" y="128123"/>
                      <a:pt x="99651" y="108939"/>
                      <a:pt x="99651" y="85415"/>
                    </a:cubicBezTo>
                    <a:lnTo>
                      <a:pt x="99651" y="71179"/>
                    </a:lnTo>
                    <a:lnTo>
                      <a:pt x="185067" y="71179"/>
                    </a:lnTo>
                    <a:lnTo>
                      <a:pt x="185067" y="99651"/>
                    </a:lnTo>
                    <a:lnTo>
                      <a:pt x="213538" y="99651"/>
                    </a:lnTo>
                    <a:lnTo>
                      <a:pt x="213538" y="71179"/>
                    </a:lnTo>
                    <a:lnTo>
                      <a:pt x="227774" y="71179"/>
                    </a:lnTo>
                    <a:lnTo>
                      <a:pt x="227774" y="113887"/>
                    </a:lnTo>
                    <a:lnTo>
                      <a:pt x="256246" y="113887"/>
                    </a:lnTo>
                    <a:lnTo>
                      <a:pt x="256246" y="42708"/>
                    </a:lnTo>
                    <a:lnTo>
                      <a:pt x="99651" y="42708"/>
                    </a:lnTo>
                    <a:cubicBezTo>
                      <a:pt x="99651" y="19184"/>
                      <a:pt x="80467" y="0"/>
                      <a:pt x="56944" y="0"/>
                    </a:cubicBezTo>
                    <a:lnTo>
                      <a:pt x="42708" y="0"/>
                    </a:lnTo>
                    <a:cubicBezTo>
                      <a:pt x="19184" y="0"/>
                      <a:pt x="0" y="19184"/>
                      <a:pt x="0" y="42708"/>
                    </a:cubicBezTo>
                    <a:lnTo>
                      <a:pt x="0" y="85415"/>
                    </a:lnTo>
                    <a:cubicBezTo>
                      <a:pt x="0" y="108939"/>
                      <a:pt x="19184" y="128123"/>
                      <a:pt x="42708" y="128123"/>
                    </a:cubicBezTo>
                    <a:close/>
                    <a:moveTo>
                      <a:pt x="28472" y="42708"/>
                    </a:moveTo>
                    <a:cubicBezTo>
                      <a:pt x="28472" y="34867"/>
                      <a:pt x="34867" y="28472"/>
                      <a:pt x="42708" y="28472"/>
                    </a:cubicBezTo>
                    <a:lnTo>
                      <a:pt x="56944" y="28472"/>
                    </a:lnTo>
                    <a:cubicBezTo>
                      <a:pt x="64785" y="28472"/>
                      <a:pt x="71179" y="34867"/>
                      <a:pt x="71179" y="42708"/>
                    </a:cubicBezTo>
                    <a:lnTo>
                      <a:pt x="71179" y="85415"/>
                    </a:lnTo>
                    <a:cubicBezTo>
                      <a:pt x="71179" y="93256"/>
                      <a:pt x="64785" y="99651"/>
                      <a:pt x="56944" y="99651"/>
                    </a:cubicBezTo>
                    <a:lnTo>
                      <a:pt x="42708" y="99651"/>
                    </a:lnTo>
                    <a:cubicBezTo>
                      <a:pt x="34867" y="99651"/>
                      <a:pt x="28472" y="93256"/>
                      <a:pt x="28472" y="85415"/>
                    </a:cubicBezTo>
                    <a:lnTo>
                      <a:pt x="28472" y="42708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</p:grpSp>
      </p:grp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E0DA1C57-2315-2981-4696-6DCE4474130A}"/>
              </a:ext>
            </a:extLst>
          </p:cNvPr>
          <p:cNvGrpSpPr/>
          <p:nvPr/>
        </p:nvGrpSpPr>
        <p:grpSpPr>
          <a:xfrm>
            <a:off x="5540670" y="2730235"/>
            <a:ext cx="561638" cy="561638"/>
            <a:chOff x="5540669" y="2730235"/>
            <a:chExt cx="561638" cy="561638"/>
          </a:xfrm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C8BEAAF6-B1FC-E337-1F27-AD6E6930D955}"/>
                </a:ext>
              </a:extLst>
            </p:cNvPr>
            <p:cNvSpPr/>
            <p:nvPr/>
          </p:nvSpPr>
          <p:spPr>
            <a:xfrm>
              <a:off x="5540669" y="2730235"/>
              <a:ext cx="561638" cy="56163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CE0C3F22-F255-4E7A-1795-FBD76975E250}"/>
                </a:ext>
              </a:extLst>
            </p:cNvPr>
            <p:cNvGrpSpPr/>
            <p:nvPr/>
          </p:nvGrpSpPr>
          <p:grpSpPr>
            <a:xfrm>
              <a:off x="5665504" y="2922085"/>
              <a:ext cx="311969" cy="177938"/>
              <a:chOff x="4582715" y="3153291"/>
              <a:chExt cx="367802" cy="209784"/>
            </a:xfrm>
          </p:grpSpPr>
          <p:grpSp>
            <p:nvGrpSpPr>
              <p:cNvPr id="164" name="Graphic 58">
                <a:extLst>
                  <a:ext uri="{FF2B5EF4-FFF2-40B4-BE49-F238E27FC236}">
                    <a16:creationId xmlns:a16="http://schemas.microsoft.com/office/drawing/2014/main" id="{3801B87A-C8BA-D654-59FD-A17D0613D440}"/>
                  </a:ext>
                </a:extLst>
              </p:cNvPr>
              <p:cNvGrpSpPr/>
              <p:nvPr/>
            </p:nvGrpSpPr>
            <p:grpSpPr>
              <a:xfrm>
                <a:off x="4582715" y="3233301"/>
                <a:ext cx="367802" cy="129774"/>
                <a:chOff x="4582715" y="3233301"/>
                <a:chExt cx="367802" cy="129774"/>
              </a:xfrm>
              <a:noFill/>
            </p:grpSpPr>
            <p:sp>
              <p:nvSpPr>
                <p:cNvPr id="166" name="Oval 165">
                  <a:extLst>
                    <a:ext uri="{FF2B5EF4-FFF2-40B4-BE49-F238E27FC236}">
                      <a16:creationId xmlns:a16="http://schemas.microsoft.com/office/drawing/2014/main" id="{0D9B251B-A4AB-720E-3E0C-DC631B11A91C}"/>
                    </a:ext>
                  </a:extLst>
                </p:cNvPr>
                <p:cNvSpPr/>
                <p:nvPr/>
              </p:nvSpPr>
              <p:spPr>
                <a:xfrm>
                  <a:off x="4819983" y="3233301"/>
                  <a:ext cx="130302" cy="26289"/>
                </a:xfrm>
                <a:prstGeom prst="ellips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6F08009C-E95A-CF10-C025-CBAA8BBFD2FB}"/>
                    </a:ext>
                  </a:extLst>
                </p:cNvPr>
                <p:cNvSpPr/>
                <p:nvPr/>
              </p:nvSpPr>
              <p:spPr>
                <a:xfrm>
                  <a:off x="4819983" y="3262543"/>
                  <a:ext cx="130386" cy="32006"/>
                </a:xfrm>
                <a:custGeom>
                  <a:avLst/>
                  <a:gdLst>
                    <a:gd name="csX0" fmla="*/ 0 w 130386"/>
                    <a:gd name="csY0" fmla="*/ 0 h 32006"/>
                    <a:gd name="csX1" fmla="*/ 0 w 130386"/>
                    <a:gd name="csY1" fmla="*/ 19050 h 32006"/>
                    <a:gd name="csX2" fmla="*/ 35909 w 130386"/>
                    <a:gd name="csY2" fmla="*/ 30861 h 32006"/>
                    <a:gd name="csX3" fmla="*/ 102108 w 130386"/>
                    <a:gd name="csY3" fmla="*/ 29908 h 32006"/>
                    <a:gd name="csX4" fmla="*/ 130302 w 130386"/>
                    <a:gd name="csY4" fmla="*/ 19717 h 32006"/>
                    <a:gd name="csX5" fmla="*/ 130302 w 130386"/>
                    <a:gd name="csY5" fmla="*/ 0 h 3200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130386" h="32006">
                      <a:moveTo>
                        <a:pt x="0" y="0"/>
                      </a:moveTo>
                      <a:lnTo>
                        <a:pt x="0" y="19050"/>
                      </a:lnTo>
                      <a:cubicBezTo>
                        <a:pt x="0" y="19050"/>
                        <a:pt x="1715" y="27718"/>
                        <a:pt x="35909" y="30861"/>
                      </a:cubicBezTo>
                      <a:cubicBezTo>
                        <a:pt x="70009" y="33909"/>
                        <a:pt x="102108" y="29908"/>
                        <a:pt x="102108" y="29908"/>
                      </a:cubicBezTo>
                      <a:cubicBezTo>
                        <a:pt x="102108" y="29908"/>
                        <a:pt x="130207" y="26670"/>
                        <a:pt x="130302" y="19717"/>
                      </a:cubicBezTo>
                      <a:cubicBezTo>
                        <a:pt x="130493" y="12859"/>
                        <a:pt x="130302" y="0"/>
                        <a:pt x="130302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873A6F38-5593-F118-86C6-F64AE7C23ED4}"/>
                    </a:ext>
                  </a:extLst>
                </p:cNvPr>
                <p:cNvSpPr/>
                <p:nvPr/>
              </p:nvSpPr>
              <p:spPr>
                <a:xfrm>
                  <a:off x="4819983" y="3297404"/>
                  <a:ext cx="130386" cy="32047"/>
                </a:xfrm>
                <a:custGeom>
                  <a:avLst/>
                  <a:gdLst>
                    <a:gd name="csX0" fmla="*/ 0 w 130386"/>
                    <a:gd name="csY0" fmla="*/ 0 h 32047"/>
                    <a:gd name="csX1" fmla="*/ 0 w 130386"/>
                    <a:gd name="csY1" fmla="*/ 19050 h 32047"/>
                    <a:gd name="csX2" fmla="*/ 35909 w 130386"/>
                    <a:gd name="csY2" fmla="*/ 30861 h 32047"/>
                    <a:gd name="csX3" fmla="*/ 102108 w 130386"/>
                    <a:gd name="csY3" fmla="*/ 29909 h 32047"/>
                    <a:gd name="csX4" fmla="*/ 130302 w 130386"/>
                    <a:gd name="csY4" fmla="*/ 19717 h 32047"/>
                    <a:gd name="csX5" fmla="*/ 130302 w 130386"/>
                    <a:gd name="csY5" fmla="*/ 0 h 3204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130386" h="32047">
                      <a:moveTo>
                        <a:pt x="0" y="0"/>
                      </a:moveTo>
                      <a:lnTo>
                        <a:pt x="0" y="19050"/>
                      </a:lnTo>
                      <a:cubicBezTo>
                        <a:pt x="0" y="19050"/>
                        <a:pt x="1715" y="27718"/>
                        <a:pt x="35909" y="30861"/>
                      </a:cubicBezTo>
                      <a:cubicBezTo>
                        <a:pt x="70104" y="34004"/>
                        <a:pt x="102108" y="29909"/>
                        <a:pt x="102108" y="29909"/>
                      </a:cubicBezTo>
                      <a:cubicBezTo>
                        <a:pt x="102108" y="29909"/>
                        <a:pt x="130207" y="26670"/>
                        <a:pt x="130302" y="19717"/>
                      </a:cubicBezTo>
                      <a:cubicBezTo>
                        <a:pt x="130493" y="12859"/>
                        <a:pt x="130302" y="0"/>
                        <a:pt x="130302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69" name="Freeform: Shape 168">
                  <a:extLst>
                    <a:ext uri="{FF2B5EF4-FFF2-40B4-BE49-F238E27FC236}">
                      <a16:creationId xmlns:a16="http://schemas.microsoft.com/office/drawing/2014/main" id="{26C60B26-4AAE-3F47-052A-769E0A94412E}"/>
                    </a:ext>
                  </a:extLst>
                </p:cNvPr>
                <p:cNvSpPr/>
                <p:nvPr/>
              </p:nvSpPr>
              <p:spPr>
                <a:xfrm>
                  <a:off x="4820173" y="3331027"/>
                  <a:ext cx="130344" cy="32047"/>
                </a:xfrm>
                <a:custGeom>
                  <a:avLst/>
                  <a:gdLst>
                    <a:gd name="csX0" fmla="*/ 0 w 130344"/>
                    <a:gd name="csY0" fmla="*/ 0 h 32047"/>
                    <a:gd name="csX1" fmla="*/ 0 w 130344"/>
                    <a:gd name="csY1" fmla="*/ 19050 h 32047"/>
                    <a:gd name="csX2" fmla="*/ 35909 w 130344"/>
                    <a:gd name="csY2" fmla="*/ 30861 h 32047"/>
                    <a:gd name="csX3" fmla="*/ 102108 w 130344"/>
                    <a:gd name="csY3" fmla="*/ 29908 h 32047"/>
                    <a:gd name="csX4" fmla="*/ 130302 w 130344"/>
                    <a:gd name="csY4" fmla="*/ 19717 h 32047"/>
                    <a:gd name="csX5" fmla="*/ 130302 w 130344"/>
                    <a:gd name="csY5" fmla="*/ 0 h 3204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130344" h="32047">
                      <a:moveTo>
                        <a:pt x="0" y="0"/>
                      </a:moveTo>
                      <a:lnTo>
                        <a:pt x="0" y="19050"/>
                      </a:lnTo>
                      <a:cubicBezTo>
                        <a:pt x="0" y="19050"/>
                        <a:pt x="1715" y="27718"/>
                        <a:pt x="35909" y="30861"/>
                      </a:cubicBezTo>
                      <a:cubicBezTo>
                        <a:pt x="70104" y="34004"/>
                        <a:pt x="102108" y="29908"/>
                        <a:pt x="102108" y="29908"/>
                      </a:cubicBezTo>
                      <a:cubicBezTo>
                        <a:pt x="102108" y="29908"/>
                        <a:pt x="130207" y="26670"/>
                        <a:pt x="130302" y="19717"/>
                      </a:cubicBezTo>
                      <a:cubicBezTo>
                        <a:pt x="130397" y="12764"/>
                        <a:pt x="130302" y="0"/>
                        <a:pt x="130302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grpSp>
              <p:nvGrpSpPr>
                <p:cNvPr id="170" name="Graphic 58">
                  <a:extLst>
                    <a:ext uri="{FF2B5EF4-FFF2-40B4-BE49-F238E27FC236}">
                      <a16:creationId xmlns:a16="http://schemas.microsoft.com/office/drawing/2014/main" id="{6E058697-F14D-DCE6-0576-0E9A32BC8DE8}"/>
                    </a:ext>
                  </a:extLst>
                </p:cNvPr>
                <p:cNvGrpSpPr/>
                <p:nvPr/>
              </p:nvGrpSpPr>
              <p:grpSpPr>
                <a:xfrm>
                  <a:off x="4582715" y="3233301"/>
                  <a:ext cx="130481" cy="129774"/>
                  <a:chOff x="4582715" y="3233301"/>
                  <a:chExt cx="130481" cy="129774"/>
                </a:xfrm>
                <a:noFill/>
              </p:grpSpPr>
              <p:sp>
                <p:nvSpPr>
                  <p:cNvPr id="171" name="Oval 170">
                    <a:extLst>
                      <a:ext uri="{FF2B5EF4-FFF2-40B4-BE49-F238E27FC236}">
                        <a16:creationId xmlns:a16="http://schemas.microsoft.com/office/drawing/2014/main" id="{FC38CA7B-8610-B55C-4304-AA89FC2E0C0B}"/>
                      </a:ext>
                    </a:extLst>
                  </p:cNvPr>
                  <p:cNvSpPr/>
                  <p:nvPr/>
                </p:nvSpPr>
                <p:spPr>
                  <a:xfrm>
                    <a:off x="4582715" y="3233301"/>
                    <a:ext cx="130302" cy="26289"/>
                  </a:xfrm>
                  <a:prstGeom prst="ellipse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IN"/>
                  </a:p>
                </p:txBody>
              </p:sp>
              <p:sp>
                <p:nvSpPr>
                  <p:cNvPr id="172" name="Freeform: Shape 171">
                    <a:extLst>
                      <a:ext uri="{FF2B5EF4-FFF2-40B4-BE49-F238E27FC236}">
                        <a16:creationId xmlns:a16="http://schemas.microsoft.com/office/drawing/2014/main" id="{9FB7B9D8-0D0C-8773-E69A-494D20F4DF39}"/>
                      </a:ext>
                    </a:extLst>
                  </p:cNvPr>
                  <p:cNvSpPr/>
                  <p:nvPr/>
                </p:nvSpPr>
                <p:spPr>
                  <a:xfrm>
                    <a:off x="4582715" y="3262543"/>
                    <a:ext cx="130344" cy="32006"/>
                  </a:xfrm>
                  <a:custGeom>
                    <a:avLst/>
                    <a:gdLst>
                      <a:gd name="csX0" fmla="*/ 0 w 130344"/>
                      <a:gd name="csY0" fmla="*/ 0 h 32006"/>
                      <a:gd name="csX1" fmla="*/ 0 w 130344"/>
                      <a:gd name="csY1" fmla="*/ 19050 h 32006"/>
                      <a:gd name="csX2" fmla="*/ 35909 w 130344"/>
                      <a:gd name="csY2" fmla="*/ 30861 h 32006"/>
                      <a:gd name="csX3" fmla="*/ 102108 w 130344"/>
                      <a:gd name="csY3" fmla="*/ 29908 h 32006"/>
                      <a:gd name="csX4" fmla="*/ 130302 w 130344"/>
                      <a:gd name="csY4" fmla="*/ 19717 h 32006"/>
                      <a:gd name="csX5" fmla="*/ 130302 w 130344"/>
                      <a:gd name="csY5" fmla="*/ 0 h 3200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130344" h="32006">
                        <a:moveTo>
                          <a:pt x="0" y="0"/>
                        </a:moveTo>
                        <a:lnTo>
                          <a:pt x="0" y="19050"/>
                        </a:lnTo>
                        <a:cubicBezTo>
                          <a:pt x="0" y="19050"/>
                          <a:pt x="1715" y="27718"/>
                          <a:pt x="35909" y="30861"/>
                        </a:cubicBezTo>
                        <a:cubicBezTo>
                          <a:pt x="70009" y="33909"/>
                          <a:pt x="102108" y="29908"/>
                          <a:pt x="102108" y="29908"/>
                        </a:cubicBezTo>
                        <a:cubicBezTo>
                          <a:pt x="102108" y="29908"/>
                          <a:pt x="130207" y="26670"/>
                          <a:pt x="130302" y="19717"/>
                        </a:cubicBezTo>
                        <a:cubicBezTo>
                          <a:pt x="130397" y="12764"/>
                          <a:pt x="130302" y="0"/>
                          <a:pt x="130302" y="0"/>
                        </a:cubicBezTo>
                      </a:path>
                    </a:pathLst>
                  </a:custGeom>
                  <a:noFill/>
                  <a:ln w="12700" cap="flat">
                    <a:solidFill>
                      <a:schemeClr val="tx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IN"/>
                  </a:p>
                </p:txBody>
              </p:sp>
              <p:sp>
                <p:nvSpPr>
                  <p:cNvPr id="173" name="Freeform: Shape 172">
                    <a:extLst>
                      <a:ext uri="{FF2B5EF4-FFF2-40B4-BE49-F238E27FC236}">
                        <a16:creationId xmlns:a16="http://schemas.microsoft.com/office/drawing/2014/main" id="{0228E051-97F3-7D3F-0B58-5A5E0CEBB5F4}"/>
                      </a:ext>
                    </a:extLst>
                  </p:cNvPr>
                  <p:cNvSpPr/>
                  <p:nvPr/>
                </p:nvSpPr>
                <p:spPr>
                  <a:xfrm>
                    <a:off x="4582715" y="3297404"/>
                    <a:ext cx="130344" cy="32047"/>
                  </a:xfrm>
                  <a:custGeom>
                    <a:avLst/>
                    <a:gdLst>
                      <a:gd name="csX0" fmla="*/ 0 w 130344"/>
                      <a:gd name="csY0" fmla="*/ 0 h 32047"/>
                      <a:gd name="csX1" fmla="*/ 0 w 130344"/>
                      <a:gd name="csY1" fmla="*/ 19050 h 32047"/>
                      <a:gd name="csX2" fmla="*/ 35909 w 130344"/>
                      <a:gd name="csY2" fmla="*/ 30861 h 32047"/>
                      <a:gd name="csX3" fmla="*/ 102108 w 130344"/>
                      <a:gd name="csY3" fmla="*/ 29909 h 32047"/>
                      <a:gd name="csX4" fmla="*/ 130302 w 130344"/>
                      <a:gd name="csY4" fmla="*/ 19717 h 32047"/>
                      <a:gd name="csX5" fmla="*/ 130302 w 130344"/>
                      <a:gd name="csY5" fmla="*/ 0 h 3204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130344" h="32047">
                        <a:moveTo>
                          <a:pt x="0" y="0"/>
                        </a:moveTo>
                        <a:lnTo>
                          <a:pt x="0" y="19050"/>
                        </a:lnTo>
                        <a:cubicBezTo>
                          <a:pt x="0" y="19050"/>
                          <a:pt x="1715" y="27718"/>
                          <a:pt x="35909" y="30861"/>
                        </a:cubicBezTo>
                        <a:cubicBezTo>
                          <a:pt x="70104" y="34004"/>
                          <a:pt x="102108" y="29909"/>
                          <a:pt x="102108" y="29909"/>
                        </a:cubicBezTo>
                        <a:cubicBezTo>
                          <a:pt x="102108" y="29909"/>
                          <a:pt x="130207" y="26670"/>
                          <a:pt x="130302" y="19717"/>
                        </a:cubicBezTo>
                        <a:cubicBezTo>
                          <a:pt x="130397" y="12763"/>
                          <a:pt x="130302" y="0"/>
                          <a:pt x="130302" y="0"/>
                        </a:cubicBezTo>
                      </a:path>
                    </a:pathLst>
                  </a:custGeom>
                  <a:noFill/>
                  <a:ln w="12700" cap="flat">
                    <a:solidFill>
                      <a:schemeClr val="tx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IN"/>
                  </a:p>
                </p:txBody>
              </p:sp>
              <p:sp>
                <p:nvSpPr>
                  <p:cNvPr id="174" name="Freeform: Shape 173">
                    <a:extLst>
                      <a:ext uri="{FF2B5EF4-FFF2-40B4-BE49-F238E27FC236}">
                        <a16:creationId xmlns:a16="http://schemas.microsoft.com/office/drawing/2014/main" id="{5BFA1F45-9A86-AF9D-F150-7253F67FC222}"/>
                      </a:ext>
                    </a:extLst>
                  </p:cNvPr>
                  <p:cNvSpPr/>
                  <p:nvPr/>
                </p:nvSpPr>
                <p:spPr>
                  <a:xfrm>
                    <a:off x="4582810" y="3331027"/>
                    <a:ext cx="130386" cy="32047"/>
                  </a:xfrm>
                  <a:custGeom>
                    <a:avLst/>
                    <a:gdLst>
                      <a:gd name="csX0" fmla="*/ 0 w 130386"/>
                      <a:gd name="csY0" fmla="*/ 0 h 32047"/>
                      <a:gd name="csX1" fmla="*/ 0 w 130386"/>
                      <a:gd name="csY1" fmla="*/ 19050 h 32047"/>
                      <a:gd name="csX2" fmla="*/ 35909 w 130386"/>
                      <a:gd name="csY2" fmla="*/ 30861 h 32047"/>
                      <a:gd name="csX3" fmla="*/ 102108 w 130386"/>
                      <a:gd name="csY3" fmla="*/ 29908 h 32047"/>
                      <a:gd name="csX4" fmla="*/ 130302 w 130386"/>
                      <a:gd name="csY4" fmla="*/ 19717 h 32047"/>
                      <a:gd name="csX5" fmla="*/ 130302 w 130386"/>
                      <a:gd name="csY5" fmla="*/ 0 h 3204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130386" h="32047">
                        <a:moveTo>
                          <a:pt x="0" y="0"/>
                        </a:moveTo>
                        <a:lnTo>
                          <a:pt x="0" y="19050"/>
                        </a:lnTo>
                        <a:cubicBezTo>
                          <a:pt x="0" y="19050"/>
                          <a:pt x="1715" y="27718"/>
                          <a:pt x="35909" y="30861"/>
                        </a:cubicBezTo>
                        <a:cubicBezTo>
                          <a:pt x="70104" y="34004"/>
                          <a:pt x="102108" y="29908"/>
                          <a:pt x="102108" y="29908"/>
                        </a:cubicBezTo>
                        <a:cubicBezTo>
                          <a:pt x="102108" y="29908"/>
                          <a:pt x="130207" y="26670"/>
                          <a:pt x="130302" y="19717"/>
                        </a:cubicBezTo>
                        <a:cubicBezTo>
                          <a:pt x="130493" y="12859"/>
                          <a:pt x="130302" y="0"/>
                          <a:pt x="130302" y="0"/>
                        </a:cubicBezTo>
                      </a:path>
                    </a:pathLst>
                  </a:custGeom>
                  <a:noFill/>
                  <a:ln w="12700" cap="flat">
                    <a:solidFill>
                      <a:schemeClr val="tx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IN"/>
                  </a:p>
                </p:txBody>
              </p:sp>
            </p:grpSp>
          </p:grp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D1EEB3ED-C92C-66D7-B477-AA33EF2C35A1}"/>
                  </a:ext>
                </a:extLst>
              </p:cNvPr>
              <p:cNvSpPr/>
              <p:nvPr/>
            </p:nvSpPr>
            <p:spPr>
              <a:xfrm>
                <a:off x="4648057" y="3153291"/>
                <a:ext cx="238220" cy="63531"/>
              </a:xfrm>
              <a:custGeom>
                <a:avLst/>
                <a:gdLst>
                  <a:gd name="csX0" fmla="*/ 238220 w 238220"/>
                  <a:gd name="csY0" fmla="*/ 63532 h 63531"/>
                  <a:gd name="csX1" fmla="*/ 238220 w 238220"/>
                  <a:gd name="csY1" fmla="*/ 0 h 63531"/>
                  <a:gd name="csX2" fmla="*/ 0 w 238220"/>
                  <a:gd name="csY2" fmla="*/ 0 h 63531"/>
                  <a:gd name="csX3" fmla="*/ 0 w 238220"/>
                  <a:gd name="csY3" fmla="*/ 62675 h 6353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238220" h="63531">
                    <a:moveTo>
                      <a:pt x="238220" y="63532"/>
                    </a:moveTo>
                    <a:lnTo>
                      <a:pt x="238220" y="0"/>
                    </a:lnTo>
                    <a:lnTo>
                      <a:pt x="0" y="0"/>
                    </a:lnTo>
                    <a:lnTo>
                      <a:pt x="0" y="62675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</p:grpSp>
      </p:grp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2BA0C25D-0917-381D-1F58-5777ACD8D24D}"/>
              </a:ext>
            </a:extLst>
          </p:cNvPr>
          <p:cNvGrpSpPr/>
          <p:nvPr/>
        </p:nvGrpSpPr>
        <p:grpSpPr>
          <a:xfrm>
            <a:off x="6865303" y="2730235"/>
            <a:ext cx="561638" cy="561638"/>
            <a:chOff x="6865303" y="2730235"/>
            <a:chExt cx="561638" cy="561638"/>
          </a:xfrm>
        </p:grpSpPr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56E8B139-B1B2-B4F5-BBA3-D3931E629FE7}"/>
                </a:ext>
              </a:extLst>
            </p:cNvPr>
            <p:cNvSpPr/>
            <p:nvPr/>
          </p:nvSpPr>
          <p:spPr>
            <a:xfrm>
              <a:off x="6865303" y="2730235"/>
              <a:ext cx="561638" cy="56163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74EE3A83-CE04-4C21-BBCC-87A2FBD609B5}"/>
                </a:ext>
              </a:extLst>
            </p:cNvPr>
            <p:cNvGrpSpPr/>
            <p:nvPr/>
          </p:nvGrpSpPr>
          <p:grpSpPr>
            <a:xfrm>
              <a:off x="7044235" y="2838809"/>
              <a:ext cx="203773" cy="344491"/>
              <a:chOff x="6211083" y="3053278"/>
              <a:chExt cx="240242" cy="406145"/>
            </a:xfrm>
          </p:grpSpPr>
          <p:grpSp>
            <p:nvGrpSpPr>
              <p:cNvPr id="176" name="Graphic 73">
                <a:extLst>
                  <a:ext uri="{FF2B5EF4-FFF2-40B4-BE49-F238E27FC236}">
                    <a16:creationId xmlns:a16="http://schemas.microsoft.com/office/drawing/2014/main" id="{D4FD6FB9-9947-97F0-0544-85237692B4B6}"/>
                  </a:ext>
                </a:extLst>
              </p:cNvPr>
              <p:cNvGrpSpPr/>
              <p:nvPr/>
            </p:nvGrpSpPr>
            <p:grpSpPr>
              <a:xfrm>
                <a:off x="6211083" y="3136145"/>
                <a:ext cx="240242" cy="323278"/>
                <a:chOff x="6211083" y="3136145"/>
                <a:chExt cx="240242" cy="323278"/>
              </a:xfrm>
              <a:noFill/>
            </p:grpSpPr>
            <p:sp>
              <p:nvSpPr>
                <p:cNvPr id="181" name="Freeform: Shape 180">
                  <a:extLst>
                    <a:ext uri="{FF2B5EF4-FFF2-40B4-BE49-F238E27FC236}">
                      <a16:creationId xmlns:a16="http://schemas.microsoft.com/office/drawing/2014/main" id="{FE78EE6C-DC99-B83D-4D44-153CA5466457}"/>
                    </a:ext>
                  </a:extLst>
                </p:cNvPr>
                <p:cNvSpPr/>
                <p:nvPr/>
              </p:nvSpPr>
              <p:spPr>
                <a:xfrm>
                  <a:off x="6211083" y="3136145"/>
                  <a:ext cx="240242" cy="323278"/>
                </a:xfrm>
                <a:custGeom>
                  <a:avLst/>
                  <a:gdLst>
                    <a:gd name="csX0" fmla="*/ 237850 w 240242"/>
                    <a:gd name="csY0" fmla="*/ 19145 h 323278"/>
                    <a:gd name="csX1" fmla="*/ 146887 w 240242"/>
                    <a:gd name="csY1" fmla="*/ 137351 h 323278"/>
                    <a:gd name="csX2" fmla="*/ 146887 w 240242"/>
                    <a:gd name="csY2" fmla="*/ 280797 h 323278"/>
                    <a:gd name="csX3" fmla="*/ 93451 w 240242"/>
                    <a:gd name="csY3" fmla="*/ 323279 h 323278"/>
                    <a:gd name="csX4" fmla="*/ 93451 w 240242"/>
                    <a:gd name="csY4" fmla="*/ 137351 h 323278"/>
                    <a:gd name="csX5" fmla="*/ 2488 w 240242"/>
                    <a:gd name="csY5" fmla="*/ 19145 h 323278"/>
                    <a:gd name="csX6" fmla="*/ 11917 w 240242"/>
                    <a:gd name="csY6" fmla="*/ 0 h 323278"/>
                    <a:gd name="csX7" fmla="*/ 228325 w 240242"/>
                    <a:gd name="csY7" fmla="*/ 0 h 323278"/>
                    <a:gd name="csX8" fmla="*/ 237755 w 240242"/>
                    <a:gd name="csY8" fmla="*/ 19145 h 32327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40242" h="323278">
                      <a:moveTo>
                        <a:pt x="237850" y="19145"/>
                      </a:moveTo>
                      <a:lnTo>
                        <a:pt x="146887" y="137351"/>
                      </a:lnTo>
                      <a:lnTo>
                        <a:pt x="146887" y="280797"/>
                      </a:lnTo>
                      <a:lnTo>
                        <a:pt x="93451" y="323279"/>
                      </a:lnTo>
                      <a:lnTo>
                        <a:pt x="93451" y="137351"/>
                      </a:lnTo>
                      <a:lnTo>
                        <a:pt x="2488" y="19145"/>
                      </a:lnTo>
                      <a:cubicBezTo>
                        <a:pt x="-3513" y="11335"/>
                        <a:pt x="2011" y="0"/>
                        <a:pt x="11917" y="0"/>
                      </a:cubicBezTo>
                      <a:lnTo>
                        <a:pt x="228325" y="0"/>
                      </a:lnTo>
                      <a:cubicBezTo>
                        <a:pt x="238231" y="0"/>
                        <a:pt x="243756" y="11335"/>
                        <a:pt x="237755" y="19145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82" name="Freeform: Shape 181">
                  <a:extLst>
                    <a:ext uri="{FF2B5EF4-FFF2-40B4-BE49-F238E27FC236}">
                      <a16:creationId xmlns:a16="http://schemas.microsoft.com/office/drawing/2014/main" id="{35F7C60C-C3B8-0C3D-BB3F-9E08F8C1A7C3}"/>
                    </a:ext>
                  </a:extLst>
                </p:cNvPr>
                <p:cNvSpPr/>
                <p:nvPr/>
              </p:nvSpPr>
              <p:spPr>
                <a:xfrm>
                  <a:off x="6304534" y="3273496"/>
                  <a:ext cx="53435" cy="9525"/>
                </a:xfrm>
                <a:custGeom>
                  <a:avLst/>
                  <a:gdLst>
                    <a:gd name="csX0" fmla="*/ 0 w 53435"/>
                    <a:gd name="csY0" fmla="*/ 0 h 9525"/>
                    <a:gd name="csX1" fmla="*/ 53435 w 5343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53435" h="9525">
                      <a:moveTo>
                        <a:pt x="0" y="0"/>
                      </a:moveTo>
                      <a:lnTo>
                        <a:pt x="53435" y="0"/>
                      </a:lnTo>
                    </a:path>
                  </a:pathLst>
                </a:custGeom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</p:grpSp>
          <p:grpSp>
            <p:nvGrpSpPr>
              <p:cNvPr id="177" name="Graphic 73">
                <a:extLst>
                  <a:ext uri="{FF2B5EF4-FFF2-40B4-BE49-F238E27FC236}">
                    <a16:creationId xmlns:a16="http://schemas.microsoft.com/office/drawing/2014/main" id="{E0E13B0F-1696-989E-BB68-4B04E783918B}"/>
                  </a:ext>
                </a:extLst>
              </p:cNvPr>
              <p:cNvGrpSpPr/>
              <p:nvPr/>
            </p:nvGrpSpPr>
            <p:grpSpPr>
              <a:xfrm>
                <a:off x="6248718" y="3053278"/>
                <a:ext cx="165068" cy="72104"/>
                <a:chOff x="6248718" y="3053278"/>
                <a:chExt cx="165068" cy="72104"/>
              </a:xfrm>
              <a:noFill/>
            </p:grpSpPr>
            <p:sp>
              <p:nvSpPr>
                <p:cNvPr id="178" name="Oval 177">
                  <a:extLst>
                    <a:ext uri="{FF2B5EF4-FFF2-40B4-BE49-F238E27FC236}">
                      <a16:creationId xmlns:a16="http://schemas.microsoft.com/office/drawing/2014/main" id="{6AC4B862-AA6A-4970-9A25-405057CC39B7}"/>
                    </a:ext>
                  </a:extLst>
                </p:cNvPr>
                <p:cNvSpPr/>
                <p:nvPr/>
              </p:nvSpPr>
              <p:spPr>
                <a:xfrm>
                  <a:off x="6248718" y="3089378"/>
                  <a:ext cx="36004" cy="36004"/>
                </a:xfrm>
                <a:prstGeom prst="ellips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79" name="Oval 178">
                  <a:extLst>
                    <a:ext uri="{FF2B5EF4-FFF2-40B4-BE49-F238E27FC236}">
                      <a16:creationId xmlns:a16="http://schemas.microsoft.com/office/drawing/2014/main" id="{3D678F7D-5660-F762-3526-AFFE60FAD249}"/>
                    </a:ext>
                  </a:extLst>
                </p:cNvPr>
                <p:cNvSpPr/>
                <p:nvPr/>
              </p:nvSpPr>
              <p:spPr>
                <a:xfrm>
                  <a:off x="6313202" y="3053278"/>
                  <a:ext cx="36004" cy="36004"/>
                </a:xfrm>
                <a:prstGeom prst="ellips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80" name="Oval 179">
                  <a:extLst>
                    <a:ext uri="{FF2B5EF4-FFF2-40B4-BE49-F238E27FC236}">
                      <a16:creationId xmlns:a16="http://schemas.microsoft.com/office/drawing/2014/main" id="{0199B43E-0CFE-9130-004B-E8FB46708EA4}"/>
                    </a:ext>
                  </a:extLst>
                </p:cNvPr>
                <p:cNvSpPr/>
                <p:nvPr/>
              </p:nvSpPr>
              <p:spPr>
                <a:xfrm>
                  <a:off x="6377782" y="3085092"/>
                  <a:ext cx="36004" cy="36004"/>
                </a:xfrm>
                <a:prstGeom prst="ellips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</p:grpSp>
        </p:grp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949E617F-874C-371C-12BE-D4768CC470D2}"/>
              </a:ext>
            </a:extLst>
          </p:cNvPr>
          <p:cNvGrpSpPr/>
          <p:nvPr/>
        </p:nvGrpSpPr>
        <p:grpSpPr>
          <a:xfrm>
            <a:off x="8189937" y="2730235"/>
            <a:ext cx="561638" cy="561638"/>
            <a:chOff x="8189936" y="2730235"/>
            <a:chExt cx="561638" cy="561638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A70B5B05-17CD-CEA8-97CD-97A7CDE8BF85}"/>
                </a:ext>
              </a:extLst>
            </p:cNvPr>
            <p:cNvSpPr/>
            <p:nvPr/>
          </p:nvSpPr>
          <p:spPr>
            <a:xfrm>
              <a:off x="8189936" y="2730235"/>
              <a:ext cx="561638" cy="56163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DA1B4430-7C17-0098-EDFD-557BD6C3143F}"/>
                </a:ext>
              </a:extLst>
            </p:cNvPr>
            <p:cNvGrpSpPr/>
            <p:nvPr/>
          </p:nvGrpSpPr>
          <p:grpSpPr>
            <a:xfrm>
              <a:off x="8321246" y="2861614"/>
              <a:ext cx="299019" cy="298880"/>
              <a:chOff x="7713768" y="3079975"/>
              <a:chExt cx="352535" cy="352370"/>
            </a:xfrm>
          </p:grpSpPr>
          <p:grpSp>
            <p:nvGrpSpPr>
              <p:cNvPr id="184" name="Graphic 84">
                <a:extLst>
                  <a:ext uri="{FF2B5EF4-FFF2-40B4-BE49-F238E27FC236}">
                    <a16:creationId xmlns:a16="http://schemas.microsoft.com/office/drawing/2014/main" id="{FFE22DEE-E480-6226-3708-CAAB8C0A0EF5}"/>
                  </a:ext>
                </a:extLst>
              </p:cNvPr>
              <p:cNvGrpSpPr/>
              <p:nvPr/>
            </p:nvGrpSpPr>
            <p:grpSpPr>
              <a:xfrm>
                <a:off x="7713768" y="3079975"/>
                <a:ext cx="278235" cy="257278"/>
                <a:chOff x="7713768" y="3079975"/>
                <a:chExt cx="278235" cy="257278"/>
              </a:xfrm>
              <a:noFill/>
            </p:grpSpPr>
            <p:sp>
              <p:nvSpPr>
                <p:cNvPr id="188" name="Freeform: Shape 187">
                  <a:extLst>
                    <a:ext uri="{FF2B5EF4-FFF2-40B4-BE49-F238E27FC236}">
                      <a16:creationId xmlns:a16="http://schemas.microsoft.com/office/drawing/2014/main" id="{3F23B1BD-B077-0953-CA20-45D5E694AEC9}"/>
                    </a:ext>
                  </a:extLst>
                </p:cNvPr>
                <p:cNvSpPr/>
                <p:nvPr/>
              </p:nvSpPr>
              <p:spPr>
                <a:xfrm>
                  <a:off x="7748475" y="3204556"/>
                  <a:ext cx="48539" cy="86477"/>
                </a:xfrm>
                <a:custGeom>
                  <a:avLst/>
                  <a:gdLst>
                    <a:gd name="csX0" fmla="*/ 0 w 48539"/>
                    <a:gd name="csY0" fmla="*/ 86477 h 86477"/>
                    <a:gd name="csX1" fmla="*/ 48540 w 48539"/>
                    <a:gd name="csY1" fmla="*/ 0 h 8647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48539" h="86477">
                      <a:moveTo>
                        <a:pt x="0" y="86477"/>
                      </a:moveTo>
                      <a:lnTo>
                        <a:pt x="48540" y="0"/>
                      </a:lnTo>
                    </a:path>
                  </a:pathLst>
                </a:custGeom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89" name="Freeform: Shape 188">
                  <a:extLst>
                    <a:ext uri="{FF2B5EF4-FFF2-40B4-BE49-F238E27FC236}">
                      <a16:creationId xmlns:a16="http://schemas.microsoft.com/office/drawing/2014/main" id="{79C6447B-A74F-1009-E0CC-65DE0AF8EDFF}"/>
                    </a:ext>
                  </a:extLst>
                </p:cNvPr>
                <p:cNvSpPr/>
                <p:nvPr/>
              </p:nvSpPr>
              <p:spPr>
                <a:xfrm>
                  <a:off x="7831473" y="3204556"/>
                  <a:ext cx="36943" cy="30316"/>
                </a:xfrm>
                <a:custGeom>
                  <a:avLst/>
                  <a:gdLst>
                    <a:gd name="csX0" fmla="*/ 0 w 36943"/>
                    <a:gd name="csY0" fmla="*/ 0 h 30316"/>
                    <a:gd name="csX1" fmla="*/ 36943 w 36943"/>
                    <a:gd name="csY1" fmla="*/ 30317 h 3031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36943" h="30316">
                      <a:moveTo>
                        <a:pt x="0" y="0"/>
                      </a:moveTo>
                      <a:lnTo>
                        <a:pt x="36943" y="30317"/>
                      </a:lnTo>
                    </a:path>
                  </a:pathLst>
                </a:custGeom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90" name="Freeform: Shape 189">
                  <a:extLst>
                    <a:ext uri="{FF2B5EF4-FFF2-40B4-BE49-F238E27FC236}">
                      <a16:creationId xmlns:a16="http://schemas.microsoft.com/office/drawing/2014/main" id="{853BCAC1-7692-1EA0-6A0B-E59DCA1AB02E}"/>
                    </a:ext>
                  </a:extLst>
                </p:cNvPr>
                <p:cNvSpPr/>
                <p:nvPr/>
              </p:nvSpPr>
              <p:spPr>
                <a:xfrm>
                  <a:off x="7907762" y="3124042"/>
                  <a:ext cx="51439" cy="101967"/>
                </a:xfrm>
                <a:custGeom>
                  <a:avLst/>
                  <a:gdLst>
                    <a:gd name="csX0" fmla="*/ 0 w 51439"/>
                    <a:gd name="csY0" fmla="*/ 101967 h 101967"/>
                    <a:gd name="csX1" fmla="*/ 51439 w 51439"/>
                    <a:gd name="csY1" fmla="*/ 0 h 10196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51439" h="101967">
                      <a:moveTo>
                        <a:pt x="0" y="101967"/>
                      </a:moveTo>
                      <a:lnTo>
                        <a:pt x="51439" y="0"/>
                      </a:lnTo>
                    </a:path>
                  </a:pathLst>
                </a:custGeom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91" name="Oval 190">
                  <a:extLst>
                    <a:ext uri="{FF2B5EF4-FFF2-40B4-BE49-F238E27FC236}">
                      <a16:creationId xmlns:a16="http://schemas.microsoft.com/office/drawing/2014/main" id="{BA1D7EAF-0E47-8CB1-8D5A-4B596E8F2259}"/>
                    </a:ext>
                  </a:extLst>
                </p:cNvPr>
                <p:cNvSpPr/>
                <p:nvPr/>
              </p:nvSpPr>
              <p:spPr>
                <a:xfrm>
                  <a:off x="7713768" y="3291033"/>
                  <a:ext cx="46220" cy="46220"/>
                </a:xfrm>
                <a:prstGeom prst="ellips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92" name="Oval 191">
                  <a:extLst>
                    <a:ext uri="{FF2B5EF4-FFF2-40B4-BE49-F238E27FC236}">
                      <a16:creationId xmlns:a16="http://schemas.microsoft.com/office/drawing/2014/main" id="{4D79087A-7D40-EB42-9CEE-97FD85AA693A}"/>
                    </a:ext>
                  </a:extLst>
                </p:cNvPr>
                <p:cNvSpPr/>
                <p:nvPr/>
              </p:nvSpPr>
              <p:spPr>
                <a:xfrm>
                  <a:off x="7791134" y="3166038"/>
                  <a:ext cx="46220" cy="46220"/>
                </a:xfrm>
                <a:prstGeom prst="ellips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93" name="Oval 192">
                  <a:extLst>
                    <a:ext uri="{FF2B5EF4-FFF2-40B4-BE49-F238E27FC236}">
                      <a16:creationId xmlns:a16="http://schemas.microsoft.com/office/drawing/2014/main" id="{E43FD789-F5DE-EBD4-81C9-0110EDED7213}"/>
                    </a:ext>
                  </a:extLst>
                </p:cNvPr>
                <p:cNvSpPr/>
                <p:nvPr/>
              </p:nvSpPr>
              <p:spPr>
                <a:xfrm>
                  <a:off x="7868500" y="3219383"/>
                  <a:ext cx="46220" cy="46220"/>
                </a:xfrm>
                <a:prstGeom prst="ellips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94" name="Oval 193">
                  <a:extLst>
                    <a:ext uri="{FF2B5EF4-FFF2-40B4-BE49-F238E27FC236}">
                      <a16:creationId xmlns:a16="http://schemas.microsoft.com/office/drawing/2014/main" id="{0F69C231-A85D-161D-C699-7DD8302C881A}"/>
                    </a:ext>
                  </a:extLst>
                </p:cNvPr>
                <p:cNvSpPr/>
                <p:nvPr/>
              </p:nvSpPr>
              <p:spPr>
                <a:xfrm>
                  <a:off x="7945783" y="3079975"/>
                  <a:ext cx="46220" cy="46220"/>
                </a:xfrm>
                <a:prstGeom prst="ellips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</p:grpSp>
          <p:grpSp>
            <p:nvGrpSpPr>
              <p:cNvPr id="185" name="Graphic 84">
                <a:extLst>
                  <a:ext uri="{FF2B5EF4-FFF2-40B4-BE49-F238E27FC236}">
                    <a16:creationId xmlns:a16="http://schemas.microsoft.com/office/drawing/2014/main" id="{9B2F5D33-C393-8C18-B7E8-7871AF4D075D}"/>
                  </a:ext>
                </a:extLst>
              </p:cNvPr>
              <p:cNvGrpSpPr/>
              <p:nvPr/>
            </p:nvGrpSpPr>
            <p:grpSpPr>
              <a:xfrm>
                <a:off x="7733896" y="3099938"/>
                <a:ext cx="332407" cy="332407"/>
                <a:chOff x="7733896" y="3099938"/>
                <a:chExt cx="332407" cy="332407"/>
              </a:xfrm>
              <a:noFill/>
            </p:grpSpPr>
            <p:sp>
              <p:nvSpPr>
                <p:cNvPr id="186" name="Freeform: Shape 185">
                  <a:extLst>
                    <a:ext uri="{FF2B5EF4-FFF2-40B4-BE49-F238E27FC236}">
                      <a16:creationId xmlns:a16="http://schemas.microsoft.com/office/drawing/2014/main" id="{81AA77EC-6A16-315E-2536-AFD4356DB914}"/>
                    </a:ext>
                  </a:extLst>
                </p:cNvPr>
                <p:cNvSpPr/>
                <p:nvPr/>
              </p:nvSpPr>
              <p:spPr>
                <a:xfrm>
                  <a:off x="7733896" y="3099938"/>
                  <a:ext cx="332407" cy="332407"/>
                </a:xfrm>
                <a:custGeom>
                  <a:avLst/>
                  <a:gdLst>
                    <a:gd name="csX0" fmla="*/ 209981 w 332407"/>
                    <a:gd name="csY0" fmla="*/ 174363 h 332407"/>
                    <a:gd name="csX1" fmla="*/ 326609 w 332407"/>
                    <a:gd name="csY1" fmla="*/ 290991 h 332407"/>
                    <a:gd name="csX2" fmla="*/ 326775 w 332407"/>
                    <a:gd name="csY2" fmla="*/ 291240 h 332407"/>
                    <a:gd name="csX3" fmla="*/ 332408 w 332407"/>
                    <a:gd name="csY3" fmla="*/ 305239 h 332407"/>
                    <a:gd name="csX4" fmla="*/ 326527 w 332407"/>
                    <a:gd name="csY4" fmla="*/ 319403 h 332407"/>
                    <a:gd name="csX5" fmla="*/ 319403 w 332407"/>
                    <a:gd name="csY5" fmla="*/ 326527 h 332407"/>
                    <a:gd name="csX6" fmla="*/ 305239 w 332407"/>
                    <a:gd name="csY6" fmla="*/ 332408 h 332407"/>
                    <a:gd name="csX7" fmla="*/ 291074 w 332407"/>
                    <a:gd name="csY7" fmla="*/ 326527 h 332407"/>
                    <a:gd name="csX8" fmla="*/ 291074 w 332407"/>
                    <a:gd name="csY8" fmla="*/ 326527 h 332407"/>
                    <a:gd name="csX9" fmla="*/ 291074 w 332407"/>
                    <a:gd name="csY9" fmla="*/ 326527 h 332407"/>
                    <a:gd name="csX10" fmla="*/ 174446 w 332407"/>
                    <a:gd name="csY10" fmla="*/ 209898 h 332407"/>
                    <a:gd name="csX11" fmla="*/ 113729 w 332407"/>
                    <a:gd name="csY11" fmla="*/ 227459 h 332407"/>
                    <a:gd name="csX12" fmla="*/ 33299 w 332407"/>
                    <a:gd name="csY12" fmla="*/ 194160 h 332407"/>
                    <a:gd name="csX13" fmla="*/ 0 w 332407"/>
                    <a:gd name="csY13" fmla="*/ 113729 h 332407"/>
                    <a:gd name="csX14" fmla="*/ 33299 w 332407"/>
                    <a:gd name="csY14" fmla="*/ 33299 h 332407"/>
                    <a:gd name="csX15" fmla="*/ 113729 w 332407"/>
                    <a:gd name="csY15" fmla="*/ 0 h 332407"/>
                    <a:gd name="csX16" fmla="*/ 194160 w 332407"/>
                    <a:gd name="csY16" fmla="*/ 33299 h 332407"/>
                    <a:gd name="csX17" fmla="*/ 227459 w 332407"/>
                    <a:gd name="csY17" fmla="*/ 113729 h 332407"/>
                    <a:gd name="csX18" fmla="*/ 209898 w 332407"/>
                    <a:gd name="csY18" fmla="*/ 174446 h 332407"/>
                    <a:gd name="csX19" fmla="*/ 209898 w 332407"/>
                    <a:gd name="csY19" fmla="*/ 174446 h 3324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2407" h="332407">
                      <a:moveTo>
                        <a:pt x="209981" y="174363"/>
                      </a:moveTo>
                      <a:lnTo>
                        <a:pt x="326609" y="290991"/>
                      </a:lnTo>
                      <a:lnTo>
                        <a:pt x="326775" y="291240"/>
                      </a:lnTo>
                      <a:cubicBezTo>
                        <a:pt x="330585" y="295133"/>
                        <a:pt x="332408" y="300186"/>
                        <a:pt x="332408" y="305239"/>
                      </a:cubicBezTo>
                      <a:cubicBezTo>
                        <a:pt x="332408" y="310291"/>
                        <a:pt x="330420" y="315510"/>
                        <a:pt x="326527" y="319403"/>
                      </a:cubicBezTo>
                      <a:lnTo>
                        <a:pt x="319403" y="326527"/>
                      </a:lnTo>
                      <a:cubicBezTo>
                        <a:pt x="315510" y="330420"/>
                        <a:pt x="310374" y="332408"/>
                        <a:pt x="305239" y="332408"/>
                      </a:cubicBezTo>
                      <a:cubicBezTo>
                        <a:pt x="300103" y="332408"/>
                        <a:pt x="294967" y="330503"/>
                        <a:pt x="291074" y="326527"/>
                      </a:cubicBezTo>
                      <a:lnTo>
                        <a:pt x="291074" y="326527"/>
                      </a:lnTo>
                      <a:cubicBezTo>
                        <a:pt x="291074" y="326527"/>
                        <a:pt x="291074" y="326527"/>
                        <a:pt x="291074" y="326527"/>
                      </a:cubicBezTo>
                      <a:lnTo>
                        <a:pt x="174446" y="209898"/>
                      </a:lnTo>
                      <a:cubicBezTo>
                        <a:pt x="156885" y="220998"/>
                        <a:pt x="136094" y="227459"/>
                        <a:pt x="113729" y="227459"/>
                      </a:cubicBezTo>
                      <a:cubicBezTo>
                        <a:pt x="82336" y="227459"/>
                        <a:pt x="53924" y="214702"/>
                        <a:pt x="33299" y="194160"/>
                      </a:cubicBezTo>
                      <a:cubicBezTo>
                        <a:pt x="12756" y="173617"/>
                        <a:pt x="0" y="145123"/>
                        <a:pt x="0" y="113729"/>
                      </a:cubicBezTo>
                      <a:cubicBezTo>
                        <a:pt x="0" y="82336"/>
                        <a:pt x="12756" y="53924"/>
                        <a:pt x="33299" y="33299"/>
                      </a:cubicBezTo>
                      <a:cubicBezTo>
                        <a:pt x="53841" y="12756"/>
                        <a:pt x="82336" y="0"/>
                        <a:pt x="113729" y="0"/>
                      </a:cubicBezTo>
                      <a:cubicBezTo>
                        <a:pt x="145123" y="0"/>
                        <a:pt x="173535" y="12756"/>
                        <a:pt x="194160" y="33299"/>
                      </a:cubicBezTo>
                      <a:cubicBezTo>
                        <a:pt x="214702" y="53924"/>
                        <a:pt x="227459" y="82336"/>
                        <a:pt x="227459" y="113729"/>
                      </a:cubicBezTo>
                      <a:cubicBezTo>
                        <a:pt x="227459" y="136011"/>
                        <a:pt x="220998" y="156885"/>
                        <a:pt x="209898" y="174446"/>
                      </a:cubicBezTo>
                      <a:lnTo>
                        <a:pt x="209898" y="174446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87" name="Freeform: Shape 186">
                  <a:extLst>
                    <a:ext uri="{FF2B5EF4-FFF2-40B4-BE49-F238E27FC236}">
                      <a16:creationId xmlns:a16="http://schemas.microsoft.com/office/drawing/2014/main" id="{F498C622-CC37-9993-FB15-666F3A50236A}"/>
                    </a:ext>
                  </a:extLst>
                </p:cNvPr>
                <p:cNvSpPr/>
                <p:nvPr/>
              </p:nvSpPr>
              <p:spPr>
                <a:xfrm>
                  <a:off x="7908425" y="3274301"/>
                  <a:ext cx="35452" cy="35452"/>
                </a:xfrm>
                <a:custGeom>
                  <a:avLst/>
                  <a:gdLst>
                    <a:gd name="csX0" fmla="*/ 0 w 35452"/>
                    <a:gd name="csY0" fmla="*/ 35452 h 35452"/>
                    <a:gd name="csX1" fmla="*/ 35452 w 35452"/>
                    <a:gd name="csY1" fmla="*/ 0 h 3545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35452" h="35452">
                      <a:moveTo>
                        <a:pt x="0" y="35452"/>
                      </a:moveTo>
                      <a:lnTo>
                        <a:pt x="35452" y="0"/>
                      </a:lnTo>
                    </a:path>
                  </a:pathLst>
                </a:custGeom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</p:grpSp>
        </p:grpSp>
      </p:grp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CF5461E5-2156-2D71-AEDE-D825E892080A}"/>
              </a:ext>
            </a:extLst>
          </p:cNvPr>
          <p:cNvGrpSpPr/>
          <p:nvPr/>
        </p:nvGrpSpPr>
        <p:grpSpPr>
          <a:xfrm>
            <a:off x="9514571" y="2730235"/>
            <a:ext cx="561638" cy="561638"/>
            <a:chOff x="9514571" y="2730235"/>
            <a:chExt cx="561638" cy="561638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206547ED-842C-F0A2-A7C8-21B56ADF76C4}"/>
                </a:ext>
              </a:extLst>
            </p:cNvPr>
            <p:cNvSpPr/>
            <p:nvPr/>
          </p:nvSpPr>
          <p:spPr>
            <a:xfrm>
              <a:off x="9514571" y="2730235"/>
              <a:ext cx="561638" cy="56163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41FF9D3C-07C3-A952-B608-6DDD01526586}"/>
                </a:ext>
              </a:extLst>
            </p:cNvPr>
            <p:cNvGrpSpPr/>
            <p:nvPr/>
          </p:nvGrpSpPr>
          <p:grpSpPr>
            <a:xfrm>
              <a:off x="9661965" y="2877588"/>
              <a:ext cx="266852" cy="266933"/>
              <a:chOff x="9296401" y="3100903"/>
              <a:chExt cx="314610" cy="314706"/>
            </a:xfrm>
          </p:grpSpPr>
          <p:grpSp>
            <p:nvGrpSpPr>
              <p:cNvPr id="196" name="Graphic 99">
                <a:extLst>
                  <a:ext uri="{FF2B5EF4-FFF2-40B4-BE49-F238E27FC236}">
                    <a16:creationId xmlns:a16="http://schemas.microsoft.com/office/drawing/2014/main" id="{108FE028-B087-25CF-D1BF-9CCB5E85D2C4}"/>
                  </a:ext>
                </a:extLst>
              </p:cNvPr>
              <p:cNvGrpSpPr/>
              <p:nvPr/>
            </p:nvGrpSpPr>
            <p:grpSpPr>
              <a:xfrm>
                <a:off x="9296401" y="3100903"/>
                <a:ext cx="314610" cy="314706"/>
                <a:chOff x="9296401" y="3100903"/>
                <a:chExt cx="314610" cy="314706"/>
              </a:xfrm>
              <a:noFill/>
            </p:grpSpPr>
            <p:sp>
              <p:nvSpPr>
                <p:cNvPr id="202" name="Freeform: Shape 201">
                  <a:extLst>
                    <a:ext uri="{FF2B5EF4-FFF2-40B4-BE49-F238E27FC236}">
                      <a16:creationId xmlns:a16="http://schemas.microsoft.com/office/drawing/2014/main" id="{F51568B1-749D-B6E7-87D9-12BD1B8A8288}"/>
                    </a:ext>
                  </a:extLst>
                </p:cNvPr>
                <p:cNvSpPr/>
                <p:nvPr/>
              </p:nvSpPr>
              <p:spPr>
                <a:xfrm>
                  <a:off x="9296401" y="3100903"/>
                  <a:ext cx="314610" cy="314706"/>
                </a:xfrm>
                <a:custGeom>
                  <a:avLst/>
                  <a:gdLst>
                    <a:gd name="csX0" fmla="*/ 241364 w 314610"/>
                    <a:gd name="csY0" fmla="*/ 200501 h 314706"/>
                    <a:gd name="csX1" fmla="*/ 307943 w 314610"/>
                    <a:gd name="csY1" fmla="*/ 267081 h 314706"/>
                    <a:gd name="csX2" fmla="*/ 308134 w 314610"/>
                    <a:gd name="csY2" fmla="*/ 267367 h 314706"/>
                    <a:gd name="csX3" fmla="*/ 314611 w 314610"/>
                    <a:gd name="csY3" fmla="*/ 283464 h 314706"/>
                    <a:gd name="csX4" fmla="*/ 307848 w 314610"/>
                    <a:gd name="csY4" fmla="*/ 299752 h 314706"/>
                    <a:gd name="csX5" fmla="*/ 299657 w 314610"/>
                    <a:gd name="csY5" fmla="*/ 307943 h 314706"/>
                    <a:gd name="csX6" fmla="*/ 283369 w 314610"/>
                    <a:gd name="csY6" fmla="*/ 314706 h 314706"/>
                    <a:gd name="csX7" fmla="*/ 267081 w 314610"/>
                    <a:gd name="csY7" fmla="*/ 307943 h 314706"/>
                    <a:gd name="csX8" fmla="*/ 267081 w 314610"/>
                    <a:gd name="csY8" fmla="*/ 307943 h 314706"/>
                    <a:gd name="csX9" fmla="*/ 267081 w 314610"/>
                    <a:gd name="csY9" fmla="*/ 307943 h 314706"/>
                    <a:gd name="csX10" fmla="*/ 200501 w 314610"/>
                    <a:gd name="csY10" fmla="*/ 241364 h 314706"/>
                    <a:gd name="csX11" fmla="*/ 130683 w 314610"/>
                    <a:gd name="csY11" fmla="*/ 261556 h 314706"/>
                    <a:gd name="csX12" fmla="*/ 38195 w 314610"/>
                    <a:gd name="csY12" fmla="*/ 223266 h 314706"/>
                    <a:gd name="csX13" fmla="*/ 0 w 314610"/>
                    <a:gd name="csY13" fmla="*/ 130778 h 314706"/>
                    <a:gd name="csX14" fmla="*/ 38291 w 314610"/>
                    <a:gd name="csY14" fmla="*/ 38291 h 314706"/>
                    <a:gd name="csX15" fmla="*/ 130778 w 314610"/>
                    <a:gd name="csY15" fmla="*/ 0 h 314706"/>
                    <a:gd name="csX16" fmla="*/ 223266 w 314610"/>
                    <a:gd name="csY16" fmla="*/ 38291 h 314706"/>
                    <a:gd name="csX17" fmla="*/ 261556 w 314610"/>
                    <a:gd name="csY17" fmla="*/ 130778 h 314706"/>
                    <a:gd name="csX18" fmla="*/ 241364 w 314610"/>
                    <a:gd name="csY18" fmla="*/ 200597 h 314706"/>
                    <a:gd name="csX19" fmla="*/ 241364 w 314610"/>
                    <a:gd name="csY19" fmla="*/ 200597 h 31470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14610" h="314706">
                      <a:moveTo>
                        <a:pt x="241364" y="200501"/>
                      </a:moveTo>
                      <a:lnTo>
                        <a:pt x="307943" y="267081"/>
                      </a:lnTo>
                      <a:lnTo>
                        <a:pt x="308134" y="267367"/>
                      </a:lnTo>
                      <a:cubicBezTo>
                        <a:pt x="312515" y="271844"/>
                        <a:pt x="314611" y="277654"/>
                        <a:pt x="314611" y="283464"/>
                      </a:cubicBezTo>
                      <a:cubicBezTo>
                        <a:pt x="314611" y="289274"/>
                        <a:pt x="312325" y="295275"/>
                        <a:pt x="307848" y="299752"/>
                      </a:cubicBezTo>
                      <a:lnTo>
                        <a:pt x="299657" y="307943"/>
                      </a:lnTo>
                      <a:cubicBezTo>
                        <a:pt x="295180" y="312420"/>
                        <a:pt x="289274" y="314706"/>
                        <a:pt x="283369" y="314706"/>
                      </a:cubicBezTo>
                      <a:cubicBezTo>
                        <a:pt x="277463" y="314706"/>
                        <a:pt x="271558" y="312515"/>
                        <a:pt x="267081" y="307943"/>
                      </a:cubicBezTo>
                      <a:lnTo>
                        <a:pt x="267081" y="307943"/>
                      </a:lnTo>
                      <a:cubicBezTo>
                        <a:pt x="267081" y="307943"/>
                        <a:pt x="267081" y="307943"/>
                        <a:pt x="267081" y="307943"/>
                      </a:cubicBezTo>
                      <a:lnTo>
                        <a:pt x="200501" y="241364"/>
                      </a:lnTo>
                      <a:cubicBezTo>
                        <a:pt x="180308" y="254127"/>
                        <a:pt x="156401" y="261556"/>
                        <a:pt x="130683" y="261556"/>
                      </a:cubicBezTo>
                      <a:cubicBezTo>
                        <a:pt x="94583" y="261556"/>
                        <a:pt x="61913" y="246888"/>
                        <a:pt x="38195" y="223266"/>
                      </a:cubicBezTo>
                      <a:cubicBezTo>
                        <a:pt x="14669" y="199549"/>
                        <a:pt x="0" y="166878"/>
                        <a:pt x="0" y="130778"/>
                      </a:cubicBezTo>
                      <a:cubicBezTo>
                        <a:pt x="0" y="94678"/>
                        <a:pt x="14669" y="62008"/>
                        <a:pt x="38291" y="38291"/>
                      </a:cubicBezTo>
                      <a:cubicBezTo>
                        <a:pt x="62008" y="14669"/>
                        <a:pt x="94678" y="0"/>
                        <a:pt x="130778" y="0"/>
                      </a:cubicBezTo>
                      <a:cubicBezTo>
                        <a:pt x="166878" y="0"/>
                        <a:pt x="199549" y="14669"/>
                        <a:pt x="223266" y="38291"/>
                      </a:cubicBezTo>
                      <a:cubicBezTo>
                        <a:pt x="246888" y="62008"/>
                        <a:pt x="261556" y="94678"/>
                        <a:pt x="261556" y="130778"/>
                      </a:cubicBezTo>
                      <a:cubicBezTo>
                        <a:pt x="261556" y="156401"/>
                        <a:pt x="254127" y="180404"/>
                        <a:pt x="241364" y="200597"/>
                      </a:cubicBezTo>
                      <a:lnTo>
                        <a:pt x="241364" y="200597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03" name="Freeform: Shape 202">
                  <a:extLst>
                    <a:ext uri="{FF2B5EF4-FFF2-40B4-BE49-F238E27FC236}">
                      <a16:creationId xmlns:a16="http://schemas.microsoft.com/office/drawing/2014/main" id="{0C440A78-A725-65C5-8285-43C8E3873BA5}"/>
                    </a:ext>
                  </a:extLst>
                </p:cNvPr>
                <p:cNvSpPr/>
                <p:nvPr/>
              </p:nvSpPr>
              <p:spPr>
                <a:xfrm>
                  <a:off x="9496902" y="3301404"/>
                  <a:ext cx="40862" cy="40862"/>
                </a:xfrm>
                <a:custGeom>
                  <a:avLst/>
                  <a:gdLst>
                    <a:gd name="csX0" fmla="*/ 0 w 40862"/>
                    <a:gd name="csY0" fmla="*/ 40862 h 40862"/>
                    <a:gd name="csX1" fmla="*/ 40862 w 40862"/>
                    <a:gd name="csY1" fmla="*/ 0 h 4086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40862" h="40862">
                      <a:moveTo>
                        <a:pt x="0" y="40862"/>
                      </a:moveTo>
                      <a:lnTo>
                        <a:pt x="40862" y="0"/>
                      </a:lnTo>
                    </a:path>
                  </a:pathLst>
                </a:custGeom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</p:grpSp>
          <p:grpSp>
            <p:nvGrpSpPr>
              <p:cNvPr id="197" name="Graphic 99">
                <a:extLst>
                  <a:ext uri="{FF2B5EF4-FFF2-40B4-BE49-F238E27FC236}">
                    <a16:creationId xmlns:a16="http://schemas.microsoft.com/office/drawing/2014/main" id="{6CC05A92-5E66-DB54-2FF6-E5265A330077}"/>
                  </a:ext>
                </a:extLst>
              </p:cNvPr>
              <p:cNvGrpSpPr/>
              <p:nvPr/>
            </p:nvGrpSpPr>
            <p:grpSpPr>
              <a:xfrm>
                <a:off x="9343455" y="3191351"/>
                <a:ext cx="173926" cy="87034"/>
                <a:chOff x="9343455" y="3191351"/>
                <a:chExt cx="173926" cy="87034"/>
              </a:xfrm>
              <a:noFill/>
            </p:grpSpPr>
            <p:grpSp>
              <p:nvGrpSpPr>
                <p:cNvPr id="198" name="Graphic 99">
                  <a:extLst>
                    <a:ext uri="{FF2B5EF4-FFF2-40B4-BE49-F238E27FC236}">
                      <a16:creationId xmlns:a16="http://schemas.microsoft.com/office/drawing/2014/main" id="{F79ADF77-57B9-2726-5B91-E13F701C581E}"/>
                    </a:ext>
                  </a:extLst>
                </p:cNvPr>
                <p:cNvGrpSpPr/>
                <p:nvPr/>
              </p:nvGrpSpPr>
              <p:grpSpPr>
                <a:xfrm>
                  <a:off x="9343455" y="3191351"/>
                  <a:ext cx="173926" cy="87034"/>
                  <a:chOff x="9343455" y="3191351"/>
                  <a:chExt cx="173926" cy="87034"/>
                </a:xfrm>
                <a:noFill/>
              </p:grpSpPr>
              <p:sp>
                <p:nvSpPr>
                  <p:cNvPr id="200" name="Freeform: Shape 199">
                    <a:extLst>
                      <a:ext uri="{FF2B5EF4-FFF2-40B4-BE49-F238E27FC236}">
                        <a16:creationId xmlns:a16="http://schemas.microsoft.com/office/drawing/2014/main" id="{FED38A70-C716-09D5-9985-3D8C0F8B6107}"/>
                      </a:ext>
                    </a:extLst>
                  </p:cNvPr>
                  <p:cNvSpPr/>
                  <p:nvPr/>
                </p:nvSpPr>
                <p:spPr>
                  <a:xfrm>
                    <a:off x="9343455" y="3191351"/>
                    <a:ext cx="173926" cy="87034"/>
                  </a:xfrm>
                  <a:custGeom>
                    <a:avLst/>
                    <a:gdLst>
                      <a:gd name="csX0" fmla="*/ 0 w 173926"/>
                      <a:gd name="csY0" fmla="*/ 46522 h 87034"/>
                      <a:gd name="csX1" fmla="*/ 173927 w 173926"/>
                      <a:gd name="csY1" fmla="*/ 46522 h 87034"/>
                      <a:gd name="csX2" fmla="*/ 0 w 173926"/>
                      <a:gd name="csY2" fmla="*/ 46522 h 8703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</a:cxnLst>
                    <a:rect l="l" t="t" r="r" b="b"/>
                    <a:pathLst>
                      <a:path w="173926" h="87034">
                        <a:moveTo>
                          <a:pt x="0" y="46522"/>
                        </a:moveTo>
                        <a:cubicBezTo>
                          <a:pt x="0" y="46522"/>
                          <a:pt x="78010" y="137676"/>
                          <a:pt x="173927" y="46522"/>
                        </a:cubicBezTo>
                        <a:cubicBezTo>
                          <a:pt x="161925" y="34520"/>
                          <a:pt x="95917" y="-51872"/>
                          <a:pt x="0" y="46522"/>
                        </a:cubicBezTo>
                        <a:close/>
                      </a:path>
                    </a:pathLst>
                  </a:custGeom>
                  <a:noFill/>
                  <a:ln w="12700" cap="flat">
                    <a:solidFill>
                      <a:schemeClr val="tx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IN"/>
                  </a:p>
                </p:txBody>
              </p:sp>
              <p:sp>
                <p:nvSpPr>
                  <p:cNvPr id="201" name="Freeform: Shape 200">
                    <a:extLst>
                      <a:ext uri="{FF2B5EF4-FFF2-40B4-BE49-F238E27FC236}">
                        <a16:creationId xmlns:a16="http://schemas.microsoft.com/office/drawing/2014/main" id="{BB6260B7-8C04-F0CC-7693-D3AF9D157343}"/>
                      </a:ext>
                    </a:extLst>
                  </p:cNvPr>
                  <p:cNvSpPr/>
                  <p:nvPr/>
                </p:nvSpPr>
                <p:spPr>
                  <a:xfrm>
                    <a:off x="9389555" y="3201011"/>
                    <a:ext cx="84582" cy="72199"/>
                  </a:xfrm>
                  <a:custGeom>
                    <a:avLst/>
                    <a:gdLst>
                      <a:gd name="csX0" fmla="*/ 72200 w 84582"/>
                      <a:gd name="csY0" fmla="*/ 72200 h 72199"/>
                      <a:gd name="csX1" fmla="*/ 84582 w 84582"/>
                      <a:gd name="csY1" fmla="*/ 42291 h 72199"/>
                      <a:gd name="csX2" fmla="*/ 42291 w 84582"/>
                      <a:gd name="csY2" fmla="*/ 0 h 72199"/>
                      <a:gd name="csX3" fmla="*/ 0 w 84582"/>
                      <a:gd name="csY3" fmla="*/ 42291 h 72199"/>
                      <a:gd name="csX4" fmla="*/ 12383 w 84582"/>
                      <a:gd name="csY4" fmla="*/ 72200 h 7219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84582" h="72199">
                        <a:moveTo>
                          <a:pt x="72200" y="72200"/>
                        </a:moveTo>
                        <a:cubicBezTo>
                          <a:pt x="79820" y="64580"/>
                          <a:pt x="84582" y="54007"/>
                          <a:pt x="84582" y="42291"/>
                        </a:cubicBezTo>
                        <a:cubicBezTo>
                          <a:pt x="84582" y="18955"/>
                          <a:pt x="65627" y="0"/>
                          <a:pt x="42291" y="0"/>
                        </a:cubicBezTo>
                        <a:cubicBezTo>
                          <a:pt x="18955" y="0"/>
                          <a:pt x="0" y="18955"/>
                          <a:pt x="0" y="42291"/>
                        </a:cubicBezTo>
                        <a:cubicBezTo>
                          <a:pt x="0" y="54007"/>
                          <a:pt x="4763" y="64580"/>
                          <a:pt x="12383" y="72200"/>
                        </a:cubicBezTo>
                      </a:path>
                    </a:pathLst>
                  </a:custGeom>
                  <a:noFill/>
                  <a:ln w="12700" cap="flat">
                    <a:solidFill>
                      <a:schemeClr val="tx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IN"/>
                  </a:p>
                </p:txBody>
              </p:sp>
            </p:grpSp>
            <p:sp>
              <p:nvSpPr>
                <p:cNvPr id="199" name="Freeform: Shape 198">
                  <a:extLst>
                    <a:ext uri="{FF2B5EF4-FFF2-40B4-BE49-F238E27FC236}">
                      <a16:creationId xmlns:a16="http://schemas.microsoft.com/office/drawing/2014/main" id="{DC2354AF-31B1-8D45-80D3-46DFA41266DD}"/>
                    </a:ext>
                  </a:extLst>
                </p:cNvPr>
                <p:cNvSpPr/>
                <p:nvPr/>
              </p:nvSpPr>
              <p:spPr>
                <a:xfrm>
                  <a:off x="9413559" y="3226252"/>
                  <a:ext cx="36957" cy="36957"/>
                </a:xfrm>
                <a:custGeom>
                  <a:avLst/>
                  <a:gdLst>
                    <a:gd name="csX0" fmla="*/ 6382 w 36957"/>
                    <a:gd name="csY0" fmla="*/ 32480 h 36957"/>
                    <a:gd name="csX1" fmla="*/ 18478 w 36957"/>
                    <a:gd name="csY1" fmla="*/ 36957 h 36957"/>
                    <a:gd name="csX2" fmla="*/ 36957 w 36957"/>
                    <a:gd name="csY2" fmla="*/ 18479 h 36957"/>
                    <a:gd name="csX3" fmla="*/ 18478 w 36957"/>
                    <a:gd name="csY3" fmla="*/ 0 h 36957"/>
                    <a:gd name="csX4" fmla="*/ 0 w 36957"/>
                    <a:gd name="csY4" fmla="*/ 18479 h 3695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36957" h="36957">
                      <a:moveTo>
                        <a:pt x="6382" y="32480"/>
                      </a:moveTo>
                      <a:cubicBezTo>
                        <a:pt x="9620" y="35338"/>
                        <a:pt x="13811" y="36957"/>
                        <a:pt x="18478" y="36957"/>
                      </a:cubicBezTo>
                      <a:cubicBezTo>
                        <a:pt x="28670" y="36957"/>
                        <a:pt x="36957" y="28670"/>
                        <a:pt x="36957" y="18479"/>
                      </a:cubicBezTo>
                      <a:cubicBezTo>
                        <a:pt x="36957" y="8287"/>
                        <a:pt x="28670" y="0"/>
                        <a:pt x="18478" y="0"/>
                      </a:cubicBezTo>
                      <a:cubicBezTo>
                        <a:pt x="8287" y="0"/>
                        <a:pt x="0" y="8287"/>
                        <a:pt x="0" y="18479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IN"/>
                </a:p>
              </p:txBody>
            </p:sp>
          </p:grpSp>
        </p:grp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194E759-7D00-9DBA-7CA1-D6397B6B308A}"/>
              </a:ext>
            </a:extLst>
          </p:cNvPr>
          <p:cNvGrpSpPr/>
          <p:nvPr/>
        </p:nvGrpSpPr>
        <p:grpSpPr>
          <a:xfrm>
            <a:off x="10839207" y="2730235"/>
            <a:ext cx="561638" cy="561638"/>
            <a:chOff x="10839207" y="2730235"/>
            <a:chExt cx="561638" cy="561638"/>
          </a:xfrm>
        </p:grpSpPr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E8A14803-1324-D344-EDBC-B71947A04395}"/>
                </a:ext>
              </a:extLst>
            </p:cNvPr>
            <p:cNvSpPr/>
            <p:nvPr/>
          </p:nvSpPr>
          <p:spPr>
            <a:xfrm>
              <a:off x="10839207" y="2730235"/>
              <a:ext cx="561638" cy="56163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9C0ED2BC-C0A6-1598-8C90-62D0FDE511B9}"/>
                </a:ext>
              </a:extLst>
            </p:cNvPr>
            <p:cNvGrpSpPr/>
            <p:nvPr/>
          </p:nvGrpSpPr>
          <p:grpSpPr>
            <a:xfrm>
              <a:off x="10957171" y="2897788"/>
              <a:ext cx="325712" cy="226532"/>
              <a:chOff x="10821999" y="3125426"/>
              <a:chExt cx="384005" cy="267075"/>
            </a:xfrm>
          </p:grpSpPr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79C3F107-C8A7-B283-1BD4-4863943B0CEB}"/>
                  </a:ext>
                </a:extLst>
              </p:cNvPr>
              <p:cNvSpPr/>
              <p:nvPr/>
            </p:nvSpPr>
            <p:spPr>
              <a:xfrm>
                <a:off x="10868715" y="3125426"/>
                <a:ext cx="290682" cy="267075"/>
              </a:xfrm>
              <a:custGeom>
                <a:avLst/>
                <a:gdLst>
                  <a:gd name="csX0" fmla="*/ 290572 w 290682"/>
                  <a:gd name="csY0" fmla="*/ 80733 h 267075"/>
                  <a:gd name="csX1" fmla="*/ 258213 w 290682"/>
                  <a:gd name="csY1" fmla="*/ 158815 h 267075"/>
                  <a:gd name="csX2" fmla="*/ 153845 w 290682"/>
                  <a:gd name="csY2" fmla="*/ 263845 h 267075"/>
                  <a:gd name="csX3" fmla="*/ 153845 w 290682"/>
                  <a:gd name="csY3" fmla="*/ 263845 h 267075"/>
                  <a:gd name="csX4" fmla="*/ 138052 w 290682"/>
                  <a:gd name="csY4" fmla="*/ 263845 h 267075"/>
                  <a:gd name="csX5" fmla="*/ 33795 w 290682"/>
                  <a:gd name="csY5" fmla="*/ 159588 h 267075"/>
                  <a:gd name="csX6" fmla="*/ 0 w 290682"/>
                  <a:gd name="csY6" fmla="*/ 80733 h 267075"/>
                  <a:gd name="csX7" fmla="*/ 23635 w 290682"/>
                  <a:gd name="csY7" fmla="*/ 23855 h 267075"/>
                  <a:gd name="csX8" fmla="*/ 80512 w 290682"/>
                  <a:gd name="csY8" fmla="*/ 221 h 267075"/>
                  <a:gd name="csX9" fmla="*/ 137500 w 290682"/>
                  <a:gd name="csY9" fmla="*/ 23635 h 267075"/>
                  <a:gd name="csX10" fmla="*/ 145341 w 290682"/>
                  <a:gd name="csY10" fmla="*/ 31476 h 267075"/>
                  <a:gd name="csX11" fmla="*/ 153183 w 290682"/>
                  <a:gd name="csY11" fmla="*/ 23635 h 267075"/>
                  <a:gd name="csX12" fmla="*/ 210171 w 290682"/>
                  <a:gd name="csY12" fmla="*/ 0 h 267075"/>
                  <a:gd name="csX13" fmla="*/ 267159 w 290682"/>
                  <a:gd name="csY13" fmla="*/ 23635 h 267075"/>
                  <a:gd name="csX14" fmla="*/ 290683 w 290682"/>
                  <a:gd name="csY14" fmla="*/ 80622 h 267075"/>
                  <a:gd name="csX15" fmla="*/ 290683 w 290682"/>
                  <a:gd name="csY15" fmla="*/ 80622 h 2670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290682" h="267075">
                    <a:moveTo>
                      <a:pt x="290572" y="80733"/>
                    </a:moveTo>
                    <a:cubicBezTo>
                      <a:pt x="290572" y="110000"/>
                      <a:pt x="278976" y="138162"/>
                      <a:pt x="258213" y="158815"/>
                    </a:cubicBezTo>
                    <a:lnTo>
                      <a:pt x="153845" y="263845"/>
                    </a:lnTo>
                    <a:lnTo>
                      <a:pt x="153845" y="263845"/>
                    </a:lnTo>
                    <a:cubicBezTo>
                      <a:pt x="149428" y="268152"/>
                      <a:pt x="142359" y="268152"/>
                      <a:pt x="138052" y="263845"/>
                    </a:cubicBezTo>
                    <a:lnTo>
                      <a:pt x="33795" y="159588"/>
                    </a:lnTo>
                    <a:cubicBezTo>
                      <a:pt x="12480" y="138936"/>
                      <a:pt x="221" y="110442"/>
                      <a:pt x="0" y="80733"/>
                    </a:cubicBezTo>
                    <a:cubicBezTo>
                      <a:pt x="0" y="59418"/>
                      <a:pt x="8504" y="38986"/>
                      <a:pt x="23635" y="23855"/>
                    </a:cubicBezTo>
                    <a:cubicBezTo>
                      <a:pt x="38765" y="8835"/>
                      <a:pt x="59197" y="331"/>
                      <a:pt x="80512" y="221"/>
                    </a:cubicBezTo>
                    <a:cubicBezTo>
                      <a:pt x="101827" y="221"/>
                      <a:pt x="122369" y="8614"/>
                      <a:pt x="137500" y="23635"/>
                    </a:cubicBezTo>
                    <a:lnTo>
                      <a:pt x="145341" y="31476"/>
                    </a:lnTo>
                    <a:lnTo>
                      <a:pt x="153183" y="23635"/>
                    </a:lnTo>
                    <a:cubicBezTo>
                      <a:pt x="168313" y="8504"/>
                      <a:pt x="188745" y="0"/>
                      <a:pt x="210171" y="0"/>
                    </a:cubicBezTo>
                    <a:cubicBezTo>
                      <a:pt x="231596" y="0"/>
                      <a:pt x="252028" y="8504"/>
                      <a:pt x="267159" y="23635"/>
                    </a:cubicBezTo>
                    <a:cubicBezTo>
                      <a:pt x="282289" y="38765"/>
                      <a:pt x="290683" y="59307"/>
                      <a:pt x="290683" y="80622"/>
                    </a:cubicBezTo>
                    <a:lnTo>
                      <a:pt x="290683" y="80622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AD23A2EA-3D00-1035-BF01-E9A459695B7A}"/>
                  </a:ext>
                </a:extLst>
              </p:cNvPr>
              <p:cNvSpPr/>
              <p:nvPr/>
            </p:nvSpPr>
            <p:spPr>
              <a:xfrm>
                <a:off x="10821999" y="3181089"/>
                <a:ext cx="384005" cy="98845"/>
              </a:xfrm>
              <a:custGeom>
                <a:avLst/>
                <a:gdLst>
                  <a:gd name="csX0" fmla="*/ 0 w 384005"/>
                  <a:gd name="csY0" fmla="*/ 50030 h 98845"/>
                  <a:gd name="csX1" fmla="*/ 72560 w 384005"/>
                  <a:gd name="csY1" fmla="*/ 50030 h 98845"/>
                  <a:gd name="csX2" fmla="*/ 133414 w 384005"/>
                  <a:gd name="csY2" fmla="*/ 0 h 98845"/>
                  <a:gd name="csX3" fmla="*/ 229498 w 384005"/>
                  <a:gd name="csY3" fmla="*/ 98845 h 98845"/>
                  <a:gd name="csX4" fmla="*/ 269257 w 384005"/>
                  <a:gd name="csY4" fmla="*/ 49478 h 98845"/>
                  <a:gd name="csX5" fmla="*/ 384006 w 384005"/>
                  <a:gd name="csY5" fmla="*/ 49478 h 988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</a:cxnLst>
                <a:rect l="l" t="t" r="r" b="b"/>
                <a:pathLst>
                  <a:path w="384005" h="98845">
                    <a:moveTo>
                      <a:pt x="0" y="50030"/>
                    </a:moveTo>
                    <a:lnTo>
                      <a:pt x="72560" y="50030"/>
                    </a:lnTo>
                    <a:lnTo>
                      <a:pt x="133414" y="0"/>
                    </a:lnTo>
                    <a:lnTo>
                      <a:pt x="229498" y="98845"/>
                    </a:lnTo>
                    <a:lnTo>
                      <a:pt x="269257" y="49478"/>
                    </a:lnTo>
                    <a:lnTo>
                      <a:pt x="384006" y="49478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219807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8" name="Group 137">
            <a:extLst>
              <a:ext uri="{FF2B5EF4-FFF2-40B4-BE49-F238E27FC236}">
                <a16:creationId xmlns:a16="http://schemas.microsoft.com/office/drawing/2014/main" id="{F4B49B80-F93C-C24F-2AC9-ACE8C022EAFA}"/>
              </a:ext>
            </a:extLst>
          </p:cNvPr>
          <p:cNvGrpSpPr/>
          <p:nvPr/>
        </p:nvGrpSpPr>
        <p:grpSpPr>
          <a:xfrm>
            <a:off x="4614810" y="242657"/>
            <a:ext cx="4972156" cy="6187154"/>
            <a:chOff x="3609922" y="335423"/>
            <a:chExt cx="4972156" cy="6187154"/>
          </a:xfrm>
        </p:grpSpPr>
        <p:pic>
          <p:nvPicPr>
            <p:cNvPr id="139" name="Graphic 138">
              <a:extLst>
                <a:ext uri="{FF2B5EF4-FFF2-40B4-BE49-F238E27FC236}">
                  <a16:creationId xmlns:a16="http://schemas.microsoft.com/office/drawing/2014/main" id="{3395EF3B-47CC-A1A3-4F61-4B9B65FCE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779991" y="335423"/>
              <a:ext cx="4632018" cy="6187154"/>
            </a:xfrm>
            <a:prstGeom prst="rect">
              <a:avLst/>
            </a:prstGeom>
          </p:spPr>
        </p:pic>
        <p:pic>
          <p:nvPicPr>
            <p:cNvPr id="140" name="Graphic 139">
              <a:extLst>
                <a:ext uri="{FF2B5EF4-FFF2-40B4-BE49-F238E27FC236}">
                  <a16:creationId xmlns:a16="http://schemas.microsoft.com/office/drawing/2014/main" id="{0388A387-F8D6-ACD0-1674-67579CD78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609922" y="1196975"/>
              <a:ext cx="4972156" cy="4972156"/>
            </a:xfrm>
            <a:prstGeom prst="rect">
              <a:avLst/>
            </a:prstGeom>
          </p:spPr>
        </p:pic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92C4F7-1E44-D066-2DFC-5436D3ED3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fld id="{A134C65A-A9BE-9F48-B07C-F2CA02A2F7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A5FD31-1EF6-195E-826F-5812AF4078AD}"/>
              </a:ext>
            </a:extLst>
          </p:cNvPr>
          <p:cNvSpPr txBox="1"/>
          <p:nvPr/>
        </p:nvSpPr>
        <p:spPr>
          <a:xfrm>
            <a:off x="2489201" y="5659025"/>
            <a:ext cx="9223374" cy="50292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By increasing the sustainable provision of robust, on the job learning while growing a connected community of interdisciplinary, digital-ready researchers, this approach strengthens the UK research ecosystem and speeds up the pace at which research delivers public benefit.</a:t>
            </a:r>
            <a:endParaRPr lang="en-US" sz="1200" dirty="0">
              <a:solidFill>
                <a:schemeClr val="tx2"/>
              </a:solidFill>
              <a:ea typeface="Calibri"/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34FE2C-AE8B-5BBA-1EFB-51CD62461755}"/>
              </a:ext>
            </a:extLst>
          </p:cNvPr>
          <p:cNvSpPr txBox="1"/>
          <p:nvPr/>
        </p:nvSpPr>
        <p:spPr>
          <a:xfrm>
            <a:off x="2580776" y="4510582"/>
            <a:ext cx="3148144" cy="1008063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marL="180975" indent="-180975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2"/>
                </a:solidFill>
              </a:rPr>
              <a:t>Network of 800+ comprising ECRs, technical specialists and more, spanning institutions, regions and disciplines</a:t>
            </a:r>
          </a:p>
          <a:p>
            <a:pPr marL="180975" indent="-180975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2"/>
                </a:solidFill>
              </a:rPr>
              <a:t>Faster knowledge-sharing, increased collaboration, and improved problem solving</a:t>
            </a:r>
            <a:endParaRPr lang="en-US" sz="1000" dirty="0">
              <a:solidFill>
                <a:schemeClr val="tx2"/>
              </a:solidFill>
              <a:ea typeface="Calibri"/>
              <a:cs typeface="Calibri"/>
            </a:endParaRPr>
          </a:p>
          <a:p>
            <a:pPr marL="180975" indent="-180975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2"/>
                </a:solidFill>
              </a:rPr>
              <a:t>Building a cohesive, </a:t>
            </a:r>
            <a:r>
              <a:rPr lang="en-US" sz="1000" b="1" dirty="0">
                <a:solidFill>
                  <a:schemeClr val="tx2"/>
                </a:solidFill>
              </a:rPr>
              <a:t>future-facing </a:t>
            </a:r>
            <a:r>
              <a:rPr lang="en-US" sz="1000" dirty="0">
                <a:solidFill>
                  <a:schemeClr val="tx2"/>
                </a:solidFill>
              </a:rPr>
              <a:t>UK research workforce</a:t>
            </a:r>
            <a:endParaRPr lang="en-US" sz="1000" dirty="0">
              <a:solidFill>
                <a:schemeClr val="tx2"/>
              </a:solidFill>
              <a:ea typeface="Calibri"/>
              <a:cs typeface="Calibr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B18FE63-1CA6-8B2D-32AA-820FFC4C48B3}"/>
              </a:ext>
            </a:extLst>
          </p:cNvPr>
          <p:cNvSpPr/>
          <p:nvPr/>
        </p:nvSpPr>
        <p:spPr>
          <a:xfrm>
            <a:off x="2489200" y="4093837"/>
            <a:ext cx="3490580" cy="34225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bIns="45720" rtlCol="0" anchor="ctr"/>
          <a:lstStyle/>
          <a:p>
            <a:r>
              <a:rPr lang="en-US" sz="1200" b="1" dirty="0">
                <a:solidFill>
                  <a:schemeClr val="bg1"/>
                </a:solidFill>
              </a:rPr>
              <a:t>Connecting communities of future lead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927E19-CF6E-D9C2-5E44-8F4D809960B6}"/>
              </a:ext>
            </a:extLst>
          </p:cNvPr>
          <p:cNvSpPr txBox="1"/>
          <p:nvPr/>
        </p:nvSpPr>
        <p:spPr>
          <a:xfrm>
            <a:off x="2580775" y="2770682"/>
            <a:ext cx="3237556" cy="1037935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marL="180975" indent="-180975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2"/>
                </a:solidFill>
              </a:rPr>
              <a:t>User friendly </a:t>
            </a:r>
            <a:r>
              <a:rPr lang="en-US" sz="1000" b="1" dirty="0">
                <a:solidFill>
                  <a:schemeClr val="tx2"/>
                </a:solidFill>
              </a:rPr>
              <a:t>online learning platform </a:t>
            </a:r>
            <a:r>
              <a:rPr lang="en-US" sz="1000" dirty="0">
                <a:solidFill>
                  <a:schemeClr val="tx2"/>
                </a:solidFill>
              </a:rPr>
              <a:t>with </a:t>
            </a:r>
            <a:r>
              <a:rPr lang="en-US" sz="1000" b="1" dirty="0">
                <a:solidFill>
                  <a:schemeClr val="tx2"/>
                </a:solidFill>
              </a:rPr>
              <a:t>44,000+ engaged learners</a:t>
            </a:r>
            <a:r>
              <a:rPr lang="en-US" sz="1000" dirty="0">
                <a:solidFill>
                  <a:schemeClr val="tx2"/>
                </a:solidFill>
              </a:rPr>
              <a:t> across the UK and globally</a:t>
            </a:r>
            <a:endParaRPr lang="en-US" sz="1000" b="1" dirty="0">
              <a:solidFill>
                <a:schemeClr val="tx2"/>
              </a:solidFill>
              <a:ea typeface="Calibri"/>
              <a:cs typeface="Calibri"/>
            </a:endParaRPr>
          </a:p>
          <a:p>
            <a:pPr marL="180975" indent="-180975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2"/>
                </a:solidFill>
              </a:rPr>
              <a:t>Flexible platform allowing modular, reusable training content, </a:t>
            </a:r>
            <a:r>
              <a:rPr lang="en-US" sz="1000" b="1" dirty="0">
                <a:solidFill>
                  <a:schemeClr val="tx2"/>
                </a:solidFill>
              </a:rPr>
              <a:t>fully scalable</a:t>
            </a:r>
            <a:r>
              <a:rPr lang="en-US" sz="1000" dirty="0">
                <a:solidFill>
                  <a:schemeClr val="tx2"/>
                </a:solidFill>
              </a:rPr>
              <a:t> while reducing costs </a:t>
            </a:r>
            <a:endParaRPr lang="en-US" sz="1000" dirty="0">
              <a:solidFill>
                <a:schemeClr val="tx2"/>
              </a:solidFill>
              <a:ea typeface="Calibri"/>
              <a:cs typeface="Calibri"/>
            </a:endParaRPr>
          </a:p>
          <a:p>
            <a:pPr marL="180975" indent="-180975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2"/>
                </a:solidFill>
              </a:rPr>
              <a:t>Building a comprehensive training catalogue comprising HDR UK and partner led courses aligned to UK priorities </a:t>
            </a:r>
            <a:endParaRPr lang="en-US" sz="1000" dirty="0">
              <a:solidFill>
                <a:schemeClr val="tx2"/>
              </a:solidFill>
              <a:ea typeface="Calibri"/>
              <a:cs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3CF879-9133-6E44-5053-83A085C1850D}"/>
              </a:ext>
            </a:extLst>
          </p:cNvPr>
          <p:cNvSpPr/>
          <p:nvPr/>
        </p:nvSpPr>
        <p:spPr>
          <a:xfrm>
            <a:off x="2489200" y="2353937"/>
            <a:ext cx="3490580" cy="3422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bIns="45720" rtlCol="0" anchor="ctr"/>
          <a:lstStyle/>
          <a:p>
            <a:r>
              <a:rPr lang="en-US" sz="1200" b="1" dirty="0">
                <a:solidFill>
                  <a:schemeClr val="bg1"/>
                </a:solidFill>
              </a:rPr>
              <a:t>Building a sustainable training infrastru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75437E-AC58-C11D-276E-E8B77FBE1C1F}"/>
              </a:ext>
            </a:extLst>
          </p:cNvPr>
          <p:cNvSpPr txBox="1"/>
          <p:nvPr/>
        </p:nvSpPr>
        <p:spPr>
          <a:xfrm>
            <a:off x="9039427" y="3912566"/>
            <a:ext cx="2670455" cy="1188720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marL="180975" indent="-180975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2"/>
                </a:solidFill>
              </a:rPr>
              <a:t>Training focused on applied,</a:t>
            </a:r>
            <a:r>
              <a:rPr lang="en-US" sz="1000" b="1" dirty="0">
                <a:solidFill>
                  <a:schemeClr val="tx2"/>
                </a:solidFill>
              </a:rPr>
              <a:t> delivery ready skills</a:t>
            </a:r>
            <a:r>
              <a:rPr lang="en-US" sz="1000" dirty="0">
                <a:solidFill>
                  <a:schemeClr val="tx2"/>
                </a:solidFill>
              </a:rPr>
              <a:t>, generating instant "on-the-job" impact</a:t>
            </a:r>
            <a:endParaRPr lang="en-US" sz="1000" dirty="0">
              <a:solidFill>
                <a:schemeClr val="tx2"/>
              </a:solidFill>
              <a:ea typeface="Calibri" panose="020F0502020204030204"/>
              <a:cs typeface="Calibri" panose="020F0502020204030204"/>
            </a:endParaRPr>
          </a:p>
          <a:p>
            <a:pPr marL="180975" indent="-180975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2"/>
                </a:solidFill>
              </a:rPr>
              <a:t>Building </a:t>
            </a:r>
            <a:r>
              <a:rPr lang="en-US" sz="1000" b="1" dirty="0">
                <a:solidFill>
                  <a:schemeClr val="tx2"/>
                </a:solidFill>
              </a:rPr>
              <a:t>interdisciplinary </a:t>
            </a:r>
            <a:r>
              <a:rPr lang="en-US" sz="1000" dirty="0">
                <a:solidFill>
                  <a:schemeClr val="tx2"/>
                </a:solidFill>
              </a:rPr>
              <a:t>skills to </a:t>
            </a:r>
            <a:r>
              <a:rPr lang="en-US" sz="1000" dirty="0" err="1">
                <a:solidFill>
                  <a:schemeClr val="tx2"/>
                </a:solidFill>
              </a:rPr>
              <a:t>maximise</a:t>
            </a:r>
            <a:r>
              <a:rPr lang="en-US" sz="1000" dirty="0">
                <a:solidFill>
                  <a:schemeClr val="tx2"/>
                </a:solidFill>
              </a:rPr>
              <a:t> return on investment and support retention</a:t>
            </a:r>
            <a:endParaRPr lang="en-US" sz="1000" dirty="0">
              <a:solidFill>
                <a:schemeClr val="tx2"/>
              </a:solidFill>
              <a:ea typeface="Calibri"/>
              <a:cs typeface="Calibri"/>
            </a:endParaRPr>
          </a:p>
          <a:p>
            <a:pPr marL="180975" indent="-180975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2"/>
                </a:solidFill>
              </a:rPr>
              <a:t>Working towards a </a:t>
            </a:r>
            <a:r>
              <a:rPr lang="en-US" sz="1000" dirty="0" err="1">
                <a:solidFill>
                  <a:schemeClr val="tx2"/>
                </a:solidFill>
              </a:rPr>
              <a:t>programme</a:t>
            </a:r>
            <a:r>
              <a:rPr lang="en-US" sz="1000" dirty="0">
                <a:solidFill>
                  <a:schemeClr val="tx2"/>
                </a:solidFill>
              </a:rPr>
              <a:t> of career-focused training sponsored by industry partners</a:t>
            </a:r>
            <a:endParaRPr lang="en-US" sz="1000" dirty="0">
              <a:solidFill>
                <a:schemeClr val="tx2"/>
              </a:solidFill>
              <a:ea typeface="Calibri"/>
              <a:cs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9038E2-76A5-EA72-D27C-C74D7FC47D7A}"/>
              </a:ext>
            </a:extLst>
          </p:cNvPr>
          <p:cNvSpPr/>
          <p:nvPr/>
        </p:nvSpPr>
        <p:spPr>
          <a:xfrm>
            <a:off x="8947851" y="3495821"/>
            <a:ext cx="2764724" cy="34225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bIns="45720" rtlCol="0" anchor="ctr"/>
          <a:lstStyle/>
          <a:p>
            <a:r>
              <a:rPr lang="en-US" sz="1200" b="1" dirty="0" err="1">
                <a:solidFill>
                  <a:schemeClr val="bg1"/>
                </a:solidFill>
              </a:rPr>
              <a:t>Maximising</a:t>
            </a:r>
            <a:r>
              <a:rPr lang="en-US" sz="1200" b="1" dirty="0">
                <a:solidFill>
                  <a:schemeClr val="bg1"/>
                </a:solidFill>
              </a:rPr>
              <a:t> ROI though capability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C933FEA-8E7E-F84A-2DA7-6900190A942D}"/>
              </a:ext>
            </a:extLst>
          </p:cNvPr>
          <p:cNvSpPr/>
          <p:nvPr/>
        </p:nvSpPr>
        <p:spPr>
          <a:xfrm>
            <a:off x="6051154" y="2515095"/>
            <a:ext cx="1228168" cy="355600"/>
          </a:xfrm>
          <a:custGeom>
            <a:avLst/>
            <a:gdLst>
              <a:gd name="connsiteX0" fmla="*/ 1803400 w 1803400"/>
              <a:gd name="connsiteY0" fmla="*/ 647700 h 647700"/>
              <a:gd name="connsiteX1" fmla="*/ 1803400 w 1803400"/>
              <a:gd name="connsiteY1" fmla="*/ 0 h 647700"/>
              <a:gd name="connsiteX2" fmla="*/ 0 w 1803400"/>
              <a:gd name="connsiteY2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03400" h="647700">
                <a:moveTo>
                  <a:pt x="1803400" y="647700"/>
                </a:moveTo>
                <a:lnTo>
                  <a:pt x="1803400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00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E021578-40F7-2A2E-2EB3-579D4DF3FA16}"/>
              </a:ext>
            </a:extLst>
          </p:cNvPr>
          <p:cNvCxnSpPr>
            <a:cxnSpLocks/>
          </p:cNvCxnSpPr>
          <p:nvPr/>
        </p:nvCxnSpPr>
        <p:spPr>
          <a:xfrm flipH="1">
            <a:off x="6051155" y="4264463"/>
            <a:ext cx="442559" cy="0"/>
          </a:xfrm>
          <a:prstGeom prst="straightConnector1">
            <a:avLst/>
          </a:prstGeom>
          <a:noFill/>
          <a:ln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0853CE2-6C84-B1C5-9BED-92A707F5C786}"/>
              </a:ext>
            </a:extLst>
          </p:cNvPr>
          <p:cNvCxnSpPr>
            <a:cxnSpLocks/>
          </p:cNvCxnSpPr>
          <p:nvPr/>
        </p:nvCxnSpPr>
        <p:spPr>
          <a:xfrm>
            <a:off x="8434769" y="3669177"/>
            <a:ext cx="433629" cy="0"/>
          </a:xfrm>
          <a:prstGeom prst="straightConnector1">
            <a:avLst/>
          </a:prstGeom>
          <a:noFill/>
          <a:ln>
            <a:solidFill>
              <a:schemeClr val="tx1"/>
            </a:solidFill>
            <a:tailEnd type="oval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1E062248-9B32-ECE3-AA76-C4E9A3614282}"/>
              </a:ext>
            </a:extLst>
          </p:cNvPr>
          <p:cNvSpPr/>
          <p:nvPr/>
        </p:nvSpPr>
        <p:spPr>
          <a:xfrm>
            <a:off x="2489201" y="1520825"/>
            <a:ext cx="9223374" cy="619711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0000">
                <a:schemeClr val="tx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dirty="0"/>
              <a:t>HDR UK’s Capacity Building </a:t>
            </a:r>
            <a:r>
              <a:rPr lang="en-US" sz="1200" b="1" dirty="0" err="1"/>
              <a:t>programme</a:t>
            </a:r>
            <a:r>
              <a:rPr lang="en-US" sz="1200" b="1" dirty="0"/>
              <a:t> is a nationally coordinated, cost-effective training infrastructure that builds instant on-the-job capability while connecting communities and accelerating research impact.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74166784-8F91-0BC0-CBF7-48F6F3675C8D}"/>
              </a:ext>
            </a:extLst>
          </p:cNvPr>
          <p:cNvGrpSpPr/>
          <p:nvPr/>
        </p:nvGrpSpPr>
        <p:grpSpPr>
          <a:xfrm>
            <a:off x="6287496" y="2483347"/>
            <a:ext cx="2352638" cy="2362176"/>
            <a:chOff x="5527692" y="2483347"/>
            <a:chExt cx="2352638" cy="2362176"/>
          </a:xfrm>
        </p:grpSpPr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0B8323D2-77D8-E821-A74B-96E1624B6C10}"/>
                </a:ext>
              </a:extLst>
            </p:cNvPr>
            <p:cNvGrpSpPr/>
            <p:nvPr/>
          </p:nvGrpSpPr>
          <p:grpSpPr>
            <a:xfrm>
              <a:off x="5527692" y="2483347"/>
              <a:ext cx="2352638" cy="2362176"/>
              <a:chOff x="12847637" y="1433512"/>
              <a:chExt cx="3970591" cy="3986687"/>
            </a:xfrm>
          </p:grpSpPr>
          <p:grpSp>
            <p:nvGrpSpPr>
              <p:cNvPr id="126" name="Group 125">
                <a:extLst>
                  <a:ext uri="{FF2B5EF4-FFF2-40B4-BE49-F238E27FC236}">
                    <a16:creationId xmlns:a16="http://schemas.microsoft.com/office/drawing/2014/main" id="{C028479B-481C-216D-CEAB-2EC42C404A57}"/>
                  </a:ext>
                </a:extLst>
              </p:cNvPr>
              <p:cNvGrpSpPr/>
              <p:nvPr/>
            </p:nvGrpSpPr>
            <p:grpSpPr>
              <a:xfrm>
                <a:off x="12847637" y="1433512"/>
                <a:ext cx="3970590" cy="1993392"/>
                <a:chOff x="12847637" y="1433512"/>
                <a:chExt cx="3970590" cy="1993392"/>
              </a:xfrm>
            </p:grpSpPr>
            <p:sp>
              <p:nvSpPr>
                <p:cNvPr id="135" name="Freeform: Shape 134">
                  <a:extLst>
                    <a:ext uri="{FF2B5EF4-FFF2-40B4-BE49-F238E27FC236}">
                      <a16:creationId xmlns:a16="http://schemas.microsoft.com/office/drawing/2014/main" id="{E190A576-4AFD-2A63-32A1-F0ABE3015BBD}"/>
                    </a:ext>
                  </a:extLst>
                </p:cNvPr>
                <p:cNvSpPr/>
                <p:nvPr/>
              </p:nvSpPr>
              <p:spPr>
                <a:xfrm>
                  <a:off x="12847637" y="1433512"/>
                  <a:ext cx="1989105" cy="1241869"/>
                </a:xfrm>
                <a:custGeom>
                  <a:avLst/>
                  <a:gdLst>
                    <a:gd name="connsiteX0" fmla="*/ 0 w 1989105"/>
                    <a:gd name="connsiteY0" fmla="*/ 740950 h 1241869"/>
                    <a:gd name="connsiteX1" fmla="*/ 10192 w 1989105"/>
                    <a:gd name="connsiteY1" fmla="*/ 1241870 h 1241869"/>
                    <a:gd name="connsiteX2" fmla="*/ 1989106 w 1989105"/>
                    <a:gd name="connsiteY2" fmla="*/ 499205 h 1241869"/>
                    <a:gd name="connsiteX3" fmla="*/ 1989106 w 1989105"/>
                    <a:gd name="connsiteY3" fmla="*/ 0 h 1241869"/>
                    <a:gd name="connsiteX4" fmla="*/ 0 w 1989105"/>
                    <a:gd name="connsiteY4" fmla="*/ 740950 h 1241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9105" h="1241869">
                      <a:moveTo>
                        <a:pt x="0" y="740950"/>
                      </a:moveTo>
                      <a:lnTo>
                        <a:pt x="10192" y="1241870"/>
                      </a:lnTo>
                      <a:lnTo>
                        <a:pt x="1989106" y="499205"/>
                      </a:lnTo>
                      <a:lnTo>
                        <a:pt x="1989106" y="0"/>
                      </a:lnTo>
                      <a:lnTo>
                        <a:pt x="0" y="74095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136" name="Freeform: Shape 135">
                  <a:extLst>
                    <a:ext uri="{FF2B5EF4-FFF2-40B4-BE49-F238E27FC236}">
                      <a16:creationId xmlns:a16="http://schemas.microsoft.com/office/drawing/2014/main" id="{BEB58929-3DB0-EE1C-7338-7E3A4683B4B6}"/>
                    </a:ext>
                  </a:extLst>
                </p:cNvPr>
                <p:cNvSpPr/>
                <p:nvPr/>
              </p:nvSpPr>
              <p:spPr>
                <a:xfrm>
                  <a:off x="14836742" y="1433512"/>
                  <a:ext cx="1981485" cy="1241869"/>
                </a:xfrm>
                <a:custGeom>
                  <a:avLst/>
                  <a:gdLst>
                    <a:gd name="connsiteX0" fmla="*/ 0 w 1981485"/>
                    <a:gd name="connsiteY0" fmla="*/ 0 h 1241869"/>
                    <a:gd name="connsiteX1" fmla="*/ 0 w 1981485"/>
                    <a:gd name="connsiteY1" fmla="*/ 499205 h 1241869"/>
                    <a:gd name="connsiteX2" fmla="*/ 1981486 w 1981485"/>
                    <a:gd name="connsiteY2" fmla="*/ 1241870 h 1241869"/>
                    <a:gd name="connsiteX3" fmla="*/ 1981486 w 1981485"/>
                    <a:gd name="connsiteY3" fmla="*/ 737330 h 1241869"/>
                    <a:gd name="connsiteX4" fmla="*/ 0 w 1981485"/>
                    <a:gd name="connsiteY4" fmla="*/ 0 h 1241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1485" h="1241869">
                      <a:moveTo>
                        <a:pt x="0" y="0"/>
                      </a:moveTo>
                      <a:lnTo>
                        <a:pt x="0" y="499205"/>
                      </a:lnTo>
                      <a:lnTo>
                        <a:pt x="1981486" y="1241870"/>
                      </a:lnTo>
                      <a:lnTo>
                        <a:pt x="1981486" y="73733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137" name="Freeform: Shape 136">
                  <a:extLst>
                    <a:ext uri="{FF2B5EF4-FFF2-40B4-BE49-F238E27FC236}">
                      <a16:creationId xmlns:a16="http://schemas.microsoft.com/office/drawing/2014/main" id="{79BBB077-71C2-141D-01D8-DFCDF4EC1CD8}"/>
                    </a:ext>
                  </a:extLst>
                </p:cNvPr>
                <p:cNvSpPr/>
                <p:nvPr/>
              </p:nvSpPr>
              <p:spPr>
                <a:xfrm>
                  <a:off x="12857827" y="1932718"/>
                  <a:ext cx="3960400" cy="1494186"/>
                </a:xfrm>
                <a:custGeom>
                  <a:avLst/>
                  <a:gdLst>
                    <a:gd name="connsiteX0" fmla="*/ 0 w 3960399"/>
                    <a:gd name="connsiteY0" fmla="*/ 742664 h 1494186"/>
                    <a:gd name="connsiteX1" fmla="*/ 1978914 w 3960399"/>
                    <a:gd name="connsiteY1" fmla="*/ 0 h 1494186"/>
                    <a:gd name="connsiteX2" fmla="*/ 3960400 w 3960399"/>
                    <a:gd name="connsiteY2" fmla="*/ 742664 h 1494186"/>
                    <a:gd name="connsiteX3" fmla="*/ 1978914 w 3960399"/>
                    <a:gd name="connsiteY3" fmla="*/ 1494187 h 1494186"/>
                    <a:gd name="connsiteX4" fmla="*/ 0 w 3960399"/>
                    <a:gd name="connsiteY4" fmla="*/ 742664 h 1494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0399" h="1494186">
                      <a:moveTo>
                        <a:pt x="0" y="742664"/>
                      </a:moveTo>
                      <a:lnTo>
                        <a:pt x="1978914" y="0"/>
                      </a:lnTo>
                      <a:lnTo>
                        <a:pt x="3960400" y="742664"/>
                      </a:lnTo>
                      <a:lnTo>
                        <a:pt x="1978914" y="1494187"/>
                      </a:lnTo>
                      <a:lnTo>
                        <a:pt x="0" y="742664"/>
                      </a:ln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</p:grpSp>
          <p:grpSp>
            <p:nvGrpSpPr>
              <p:cNvPr id="127" name="Graphic 6">
                <a:extLst>
                  <a:ext uri="{FF2B5EF4-FFF2-40B4-BE49-F238E27FC236}">
                    <a16:creationId xmlns:a16="http://schemas.microsoft.com/office/drawing/2014/main" id="{334BEA51-79E1-2E2F-52EF-192241F24D04}"/>
                  </a:ext>
                </a:extLst>
              </p:cNvPr>
              <p:cNvGrpSpPr/>
              <p:nvPr/>
            </p:nvGrpSpPr>
            <p:grpSpPr>
              <a:xfrm>
                <a:off x="12847637" y="2430207"/>
                <a:ext cx="3970591" cy="1993296"/>
                <a:chOff x="12847637" y="2430207"/>
                <a:chExt cx="3970591" cy="1993296"/>
              </a:xfrm>
            </p:grpSpPr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8C26A677-A44D-6DB7-404B-4EAB3007CD5B}"/>
                    </a:ext>
                  </a:extLst>
                </p:cNvPr>
                <p:cNvSpPr/>
                <p:nvPr/>
              </p:nvSpPr>
              <p:spPr>
                <a:xfrm>
                  <a:off x="12847637" y="2430207"/>
                  <a:ext cx="1989105" cy="1241869"/>
                </a:xfrm>
                <a:custGeom>
                  <a:avLst/>
                  <a:gdLst>
                    <a:gd name="connsiteX0" fmla="*/ 0 w 1989105"/>
                    <a:gd name="connsiteY0" fmla="*/ 740950 h 1241869"/>
                    <a:gd name="connsiteX1" fmla="*/ 10192 w 1989105"/>
                    <a:gd name="connsiteY1" fmla="*/ 1241870 h 1241869"/>
                    <a:gd name="connsiteX2" fmla="*/ 1989106 w 1989105"/>
                    <a:gd name="connsiteY2" fmla="*/ 499205 h 1241869"/>
                    <a:gd name="connsiteX3" fmla="*/ 1989106 w 1989105"/>
                    <a:gd name="connsiteY3" fmla="*/ 0 h 1241869"/>
                    <a:gd name="connsiteX4" fmla="*/ 0 w 1989105"/>
                    <a:gd name="connsiteY4" fmla="*/ 740950 h 1241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9105" h="1241869">
                      <a:moveTo>
                        <a:pt x="0" y="740950"/>
                      </a:moveTo>
                      <a:lnTo>
                        <a:pt x="10192" y="1241870"/>
                      </a:lnTo>
                      <a:lnTo>
                        <a:pt x="1989106" y="499205"/>
                      </a:lnTo>
                      <a:lnTo>
                        <a:pt x="1989106" y="0"/>
                      </a:lnTo>
                      <a:lnTo>
                        <a:pt x="0" y="740950"/>
                      </a:lnTo>
                      <a:close/>
                    </a:path>
                  </a:pathLst>
                </a:custGeom>
                <a:solidFill>
                  <a:schemeClr val="tx1">
                    <a:lumMod val="75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133" name="Freeform: Shape 132">
                  <a:extLst>
                    <a:ext uri="{FF2B5EF4-FFF2-40B4-BE49-F238E27FC236}">
                      <a16:creationId xmlns:a16="http://schemas.microsoft.com/office/drawing/2014/main" id="{C8F90714-88A7-CBEA-656A-EAA1A2FBF7B9}"/>
                    </a:ext>
                  </a:extLst>
                </p:cNvPr>
                <p:cNvSpPr/>
                <p:nvPr/>
              </p:nvSpPr>
              <p:spPr>
                <a:xfrm>
                  <a:off x="14836742" y="2430207"/>
                  <a:ext cx="1981485" cy="1241869"/>
                </a:xfrm>
                <a:custGeom>
                  <a:avLst/>
                  <a:gdLst>
                    <a:gd name="connsiteX0" fmla="*/ 0 w 1981485"/>
                    <a:gd name="connsiteY0" fmla="*/ 0 h 1241869"/>
                    <a:gd name="connsiteX1" fmla="*/ 0 w 1981485"/>
                    <a:gd name="connsiteY1" fmla="*/ 499205 h 1241869"/>
                    <a:gd name="connsiteX2" fmla="*/ 1981486 w 1981485"/>
                    <a:gd name="connsiteY2" fmla="*/ 1241870 h 1241869"/>
                    <a:gd name="connsiteX3" fmla="*/ 1981486 w 1981485"/>
                    <a:gd name="connsiteY3" fmla="*/ 737330 h 1241869"/>
                    <a:gd name="connsiteX4" fmla="*/ 0 w 1981485"/>
                    <a:gd name="connsiteY4" fmla="*/ 0 h 1241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1485" h="1241869">
                      <a:moveTo>
                        <a:pt x="0" y="0"/>
                      </a:moveTo>
                      <a:lnTo>
                        <a:pt x="0" y="499205"/>
                      </a:lnTo>
                      <a:lnTo>
                        <a:pt x="1981486" y="1241870"/>
                      </a:lnTo>
                      <a:lnTo>
                        <a:pt x="1981486" y="73733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134" name="Freeform: Shape 133">
                  <a:extLst>
                    <a:ext uri="{FF2B5EF4-FFF2-40B4-BE49-F238E27FC236}">
                      <a16:creationId xmlns:a16="http://schemas.microsoft.com/office/drawing/2014/main" id="{CD6A9AD6-AFE6-7EE0-F4FB-B09B8773012D}"/>
                    </a:ext>
                  </a:extLst>
                </p:cNvPr>
                <p:cNvSpPr/>
                <p:nvPr/>
              </p:nvSpPr>
              <p:spPr>
                <a:xfrm>
                  <a:off x="12857828" y="2929413"/>
                  <a:ext cx="3960399" cy="1494091"/>
                </a:xfrm>
                <a:custGeom>
                  <a:avLst/>
                  <a:gdLst>
                    <a:gd name="connsiteX0" fmla="*/ 0 w 3960399"/>
                    <a:gd name="connsiteY0" fmla="*/ 742664 h 1494091"/>
                    <a:gd name="connsiteX1" fmla="*/ 1978914 w 3960399"/>
                    <a:gd name="connsiteY1" fmla="*/ 0 h 1494091"/>
                    <a:gd name="connsiteX2" fmla="*/ 3960400 w 3960399"/>
                    <a:gd name="connsiteY2" fmla="*/ 742664 h 1494091"/>
                    <a:gd name="connsiteX3" fmla="*/ 1978914 w 3960399"/>
                    <a:gd name="connsiteY3" fmla="*/ 1494092 h 1494091"/>
                    <a:gd name="connsiteX4" fmla="*/ 0 w 3960399"/>
                    <a:gd name="connsiteY4" fmla="*/ 742664 h 1494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0399" h="1494091">
                      <a:moveTo>
                        <a:pt x="0" y="742664"/>
                      </a:moveTo>
                      <a:lnTo>
                        <a:pt x="1978914" y="0"/>
                      </a:lnTo>
                      <a:lnTo>
                        <a:pt x="3960400" y="742664"/>
                      </a:lnTo>
                      <a:lnTo>
                        <a:pt x="1978914" y="1494092"/>
                      </a:lnTo>
                      <a:lnTo>
                        <a:pt x="0" y="742664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</p:grpSp>
          <p:grpSp>
            <p:nvGrpSpPr>
              <p:cNvPr id="128" name="Graphic 6">
                <a:extLst>
                  <a:ext uri="{FF2B5EF4-FFF2-40B4-BE49-F238E27FC236}">
                    <a16:creationId xmlns:a16="http://schemas.microsoft.com/office/drawing/2014/main" id="{59728557-E7E3-BBD3-F971-2CC031C98594}"/>
                  </a:ext>
                </a:extLst>
              </p:cNvPr>
              <p:cNvGrpSpPr/>
              <p:nvPr/>
            </p:nvGrpSpPr>
            <p:grpSpPr>
              <a:xfrm>
                <a:off x="12847637" y="3426903"/>
                <a:ext cx="3970591" cy="1993296"/>
                <a:chOff x="12847637" y="3426903"/>
                <a:chExt cx="3970591" cy="1993296"/>
              </a:xfrm>
            </p:grpSpPr>
            <p:sp>
              <p:nvSpPr>
                <p:cNvPr id="129" name="Freeform: Shape 128">
                  <a:extLst>
                    <a:ext uri="{FF2B5EF4-FFF2-40B4-BE49-F238E27FC236}">
                      <a16:creationId xmlns:a16="http://schemas.microsoft.com/office/drawing/2014/main" id="{262C3BD4-3E2E-EDAC-8B76-D93479D8856E}"/>
                    </a:ext>
                  </a:extLst>
                </p:cNvPr>
                <p:cNvSpPr/>
                <p:nvPr/>
              </p:nvSpPr>
              <p:spPr>
                <a:xfrm>
                  <a:off x="12847637" y="3426903"/>
                  <a:ext cx="1989105" cy="1241869"/>
                </a:xfrm>
                <a:custGeom>
                  <a:avLst/>
                  <a:gdLst>
                    <a:gd name="connsiteX0" fmla="*/ 0 w 1989105"/>
                    <a:gd name="connsiteY0" fmla="*/ 740950 h 1241869"/>
                    <a:gd name="connsiteX1" fmla="*/ 10192 w 1989105"/>
                    <a:gd name="connsiteY1" fmla="*/ 1241870 h 1241869"/>
                    <a:gd name="connsiteX2" fmla="*/ 1989106 w 1989105"/>
                    <a:gd name="connsiteY2" fmla="*/ 499205 h 1241869"/>
                    <a:gd name="connsiteX3" fmla="*/ 1989106 w 1989105"/>
                    <a:gd name="connsiteY3" fmla="*/ 0 h 1241869"/>
                    <a:gd name="connsiteX4" fmla="*/ 0 w 1989105"/>
                    <a:gd name="connsiteY4" fmla="*/ 740950 h 1241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9105" h="1241869">
                      <a:moveTo>
                        <a:pt x="0" y="740950"/>
                      </a:moveTo>
                      <a:lnTo>
                        <a:pt x="10192" y="1241870"/>
                      </a:lnTo>
                      <a:lnTo>
                        <a:pt x="1989106" y="499205"/>
                      </a:lnTo>
                      <a:lnTo>
                        <a:pt x="1989106" y="0"/>
                      </a:lnTo>
                      <a:lnTo>
                        <a:pt x="0" y="740950"/>
                      </a:ln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130" name="Freeform: Shape 129">
                  <a:extLst>
                    <a:ext uri="{FF2B5EF4-FFF2-40B4-BE49-F238E27FC236}">
                      <a16:creationId xmlns:a16="http://schemas.microsoft.com/office/drawing/2014/main" id="{CEBC16C3-4593-83C1-03B4-3AB1E0DF6B99}"/>
                    </a:ext>
                  </a:extLst>
                </p:cNvPr>
                <p:cNvSpPr/>
                <p:nvPr/>
              </p:nvSpPr>
              <p:spPr>
                <a:xfrm>
                  <a:off x="14836742" y="3426903"/>
                  <a:ext cx="1981485" cy="1241869"/>
                </a:xfrm>
                <a:custGeom>
                  <a:avLst/>
                  <a:gdLst>
                    <a:gd name="connsiteX0" fmla="*/ 0 w 1981485"/>
                    <a:gd name="connsiteY0" fmla="*/ 0 h 1241869"/>
                    <a:gd name="connsiteX1" fmla="*/ 0 w 1981485"/>
                    <a:gd name="connsiteY1" fmla="*/ 499205 h 1241869"/>
                    <a:gd name="connsiteX2" fmla="*/ 1981486 w 1981485"/>
                    <a:gd name="connsiteY2" fmla="*/ 1241870 h 1241869"/>
                    <a:gd name="connsiteX3" fmla="*/ 1981486 w 1981485"/>
                    <a:gd name="connsiteY3" fmla="*/ 737330 h 1241869"/>
                    <a:gd name="connsiteX4" fmla="*/ 0 w 1981485"/>
                    <a:gd name="connsiteY4" fmla="*/ 0 h 1241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1485" h="1241869">
                      <a:moveTo>
                        <a:pt x="0" y="0"/>
                      </a:moveTo>
                      <a:lnTo>
                        <a:pt x="0" y="499205"/>
                      </a:lnTo>
                      <a:lnTo>
                        <a:pt x="1981486" y="1241870"/>
                      </a:lnTo>
                      <a:lnTo>
                        <a:pt x="1981486" y="73733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DCB96B69-0104-DFC3-F2DD-9ACF2FA37F49}"/>
                    </a:ext>
                  </a:extLst>
                </p:cNvPr>
                <p:cNvSpPr/>
                <p:nvPr/>
              </p:nvSpPr>
              <p:spPr>
                <a:xfrm>
                  <a:off x="12857828" y="3926109"/>
                  <a:ext cx="3960399" cy="1494091"/>
                </a:xfrm>
                <a:custGeom>
                  <a:avLst/>
                  <a:gdLst>
                    <a:gd name="connsiteX0" fmla="*/ 0 w 3960399"/>
                    <a:gd name="connsiteY0" fmla="*/ 742664 h 1494091"/>
                    <a:gd name="connsiteX1" fmla="*/ 1978914 w 3960399"/>
                    <a:gd name="connsiteY1" fmla="*/ 0 h 1494091"/>
                    <a:gd name="connsiteX2" fmla="*/ 3960400 w 3960399"/>
                    <a:gd name="connsiteY2" fmla="*/ 742664 h 1494091"/>
                    <a:gd name="connsiteX3" fmla="*/ 1978914 w 3960399"/>
                    <a:gd name="connsiteY3" fmla="*/ 1494091 h 1494091"/>
                    <a:gd name="connsiteX4" fmla="*/ 0 w 3960399"/>
                    <a:gd name="connsiteY4" fmla="*/ 742664 h 1494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0399" h="1494091">
                      <a:moveTo>
                        <a:pt x="0" y="742664"/>
                      </a:moveTo>
                      <a:lnTo>
                        <a:pt x="1978914" y="0"/>
                      </a:lnTo>
                      <a:lnTo>
                        <a:pt x="3960400" y="742664"/>
                      </a:lnTo>
                      <a:lnTo>
                        <a:pt x="1978914" y="1494091"/>
                      </a:lnTo>
                      <a:lnTo>
                        <a:pt x="0" y="742664"/>
                      </a:lnTo>
                      <a:close/>
                    </a:path>
                  </a:pathLst>
                </a:custGeom>
                <a:solidFill>
                  <a:schemeClr val="accent6">
                    <a:lumMod val="50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</p:grp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78CCF31F-19C8-117D-F91B-78A7BF9B2972}"/>
                </a:ext>
              </a:extLst>
            </p:cNvPr>
            <p:cNvGrpSpPr/>
            <p:nvPr/>
          </p:nvGrpSpPr>
          <p:grpSpPr>
            <a:xfrm>
              <a:off x="7240108" y="3267362"/>
              <a:ext cx="548640" cy="548640"/>
              <a:chOff x="7240108" y="3267362"/>
              <a:chExt cx="548640" cy="548640"/>
            </a:xfrm>
          </p:grpSpPr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C83852C6-A6CB-FE11-BCB3-49DD2E84B37F}"/>
                  </a:ext>
                </a:extLst>
              </p:cNvPr>
              <p:cNvSpPr/>
              <p:nvPr/>
            </p:nvSpPr>
            <p:spPr>
              <a:xfrm>
                <a:off x="7240108" y="3267362"/>
                <a:ext cx="548640" cy="54864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D1C36A65-568E-63DF-1431-7EA8F43FBF3C}"/>
                  </a:ext>
                </a:extLst>
              </p:cNvPr>
              <p:cNvGrpSpPr/>
              <p:nvPr/>
            </p:nvGrpSpPr>
            <p:grpSpPr>
              <a:xfrm>
                <a:off x="7342406" y="3398045"/>
                <a:ext cx="344044" cy="258700"/>
                <a:chOff x="5891212" y="3276599"/>
                <a:chExt cx="408179" cy="306929"/>
              </a:xfrm>
            </p:grpSpPr>
            <p:grpSp>
              <p:nvGrpSpPr>
                <p:cNvPr id="118" name="Graphic 49">
                  <a:extLst>
                    <a:ext uri="{FF2B5EF4-FFF2-40B4-BE49-F238E27FC236}">
                      <a16:creationId xmlns:a16="http://schemas.microsoft.com/office/drawing/2014/main" id="{0E0AC50B-EEE8-7617-BA44-E6CE678EFBF9}"/>
                    </a:ext>
                  </a:extLst>
                </p:cNvPr>
                <p:cNvGrpSpPr/>
                <p:nvPr/>
              </p:nvGrpSpPr>
              <p:grpSpPr>
                <a:xfrm>
                  <a:off x="6103524" y="3276599"/>
                  <a:ext cx="142875" cy="142875"/>
                  <a:chOff x="6103524" y="3276599"/>
                  <a:chExt cx="142875" cy="142875"/>
                </a:xfrm>
                <a:noFill/>
              </p:grpSpPr>
              <p:sp>
                <p:nvSpPr>
                  <p:cNvPr id="123" name="Freeform: Shape 122">
                    <a:extLst>
                      <a:ext uri="{FF2B5EF4-FFF2-40B4-BE49-F238E27FC236}">
                        <a16:creationId xmlns:a16="http://schemas.microsoft.com/office/drawing/2014/main" id="{04F0D868-6902-7D66-656D-FE377DD8D752}"/>
                      </a:ext>
                    </a:extLst>
                  </p:cNvPr>
                  <p:cNvSpPr/>
                  <p:nvPr/>
                </p:nvSpPr>
                <p:spPr>
                  <a:xfrm>
                    <a:off x="6103524" y="3276599"/>
                    <a:ext cx="142875" cy="142875"/>
                  </a:xfrm>
                  <a:custGeom>
                    <a:avLst/>
                    <a:gdLst>
                      <a:gd name="connsiteX0" fmla="*/ 142875 w 142875"/>
                      <a:gd name="connsiteY0" fmla="*/ 71438 h 142875"/>
                      <a:gd name="connsiteX1" fmla="*/ 71438 w 142875"/>
                      <a:gd name="connsiteY1" fmla="*/ 142875 h 142875"/>
                      <a:gd name="connsiteX2" fmla="*/ 0 w 142875"/>
                      <a:gd name="connsiteY2" fmla="*/ 71438 h 142875"/>
                      <a:gd name="connsiteX3" fmla="*/ 71438 w 142875"/>
                      <a:gd name="connsiteY3" fmla="*/ 0 h 142875"/>
                      <a:gd name="connsiteX4" fmla="*/ 142875 w 142875"/>
                      <a:gd name="connsiteY4" fmla="*/ 71438 h 142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875" h="142875">
                        <a:moveTo>
                          <a:pt x="142875" y="71438"/>
                        </a:moveTo>
                        <a:cubicBezTo>
                          <a:pt x="142875" y="110891"/>
                          <a:pt x="110891" y="142875"/>
                          <a:pt x="71438" y="142875"/>
                        </a:cubicBezTo>
                        <a:cubicBezTo>
                          <a:pt x="31984" y="142875"/>
                          <a:pt x="0" y="110891"/>
                          <a:pt x="0" y="71438"/>
                        </a:cubicBezTo>
                        <a:cubicBezTo>
                          <a:pt x="0" y="31984"/>
                          <a:pt x="31984" y="0"/>
                          <a:pt x="71438" y="0"/>
                        </a:cubicBezTo>
                        <a:cubicBezTo>
                          <a:pt x="110891" y="0"/>
                          <a:pt x="142875" y="31984"/>
                          <a:pt x="142875" y="71438"/>
                        </a:cubicBezTo>
                        <a:close/>
                      </a:path>
                    </a:pathLst>
                  </a:custGeom>
                  <a:ln w="12700">
                    <a:solidFill>
                      <a:schemeClr val="bg1"/>
                    </a:solidFill>
                  </a:ln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IN" dirty="0"/>
                  </a:p>
                </p:txBody>
              </p:sp>
              <p:sp>
                <p:nvSpPr>
                  <p:cNvPr id="124" name="Freeform: Shape 123">
                    <a:extLst>
                      <a:ext uri="{FF2B5EF4-FFF2-40B4-BE49-F238E27FC236}">
                        <a16:creationId xmlns:a16="http://schemas.microsoft.com/office/drawing/2014/main" id="{1661D928-22C2-32A9-20EF-6B15CF3DAE0F}"/>
                      </a:ext>
                    </a:extLst>
                  </p:cNvPr>
                  <p:cNvSpPr/>
                  <p:nvPr/>
                </p:nvSpPr>
                <p:spPr>
                  <a:xfrm>
                    <a:off x="6150387" y="3310084"/>
                    <a:ext cx="55435" cy="74210"/>
                  </a:xfrm>
                  <a:custGeom>
                    <a:avLst/>
                    <a:gdLst>
                      <a:gd name="connsiteX0" fmla="*/ 46292 w 55435"/>
                      <a:gd name="connsiteY0" fmla="*/ 17664 h 74210"/>
                      <a:gd name="connsiteX1" fmla="*/ 24575 w 55435"/>
                      <a:gd name="connsiteY1" fmla="*/ 43 h 74210"/>
                      <a:gd name="connsiteX2" fmla="*/ 10859 w 55435"/>
                      <a:gd name="connsiteY2" fmla="*/ 32618 h 74210"/>
                      <a:gd name="connsiteX3" fmla="*/ 0 w 55435"/>
                      <a:gd name="connsiteY3" fmla="*/ 73195 h 74210"/>
                      <a:gd name="connsiteX4" fmla="*/ 27242 w 55435"/>
                      <a:gd name="connsiteY4" fmla="*/ 72623 h 74210"/>
                      <a:gd name="connsiteX5" fmla="*/ 55435 w 55435"/>
                      <a:gd name="connsiteY5" fmla="*/ 69575 h 742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5435" h="74210">
                        <a:moveTo>
                          <a:pt x="46292" y="17664"/>
                        </a:moveTo>
                        <a:cubicBezTo>
                          <a:pt x="46292" y="17664"/>
                          <a:pt x="44958" y="-1005"/>
                          <a:pt x="24575" y="43"/>
                        </a:cubicBezTo>
                        <a:cubicBezTo>
                          <a:pt x="4286" y="1090"/>
                          <a:pt x="8477" y="24903"/>
                          <a:pt x="10859" y="32618"/>
                        </a:cubicBezTo>
                        <a:cubicBezTo>
                          <a:pt x="13621" y="41381"/>
                          <a:pt x="17336" y="56145"/>
                          <a:pt x="0" y="73195"/>
                        </a:cubicBezTo>
                        <a:cubicBezTo>
                          <a:pt x="0" y="73195"/>
                          <a:pt x="10287" y="68527"/>
                          <a:pt x="27242" y="72623"/>
                        </a:cubicBezTo>
                        <a:cubicBezTo>
                          <a:pt x="44196" y="76719"/>
                          <a:pt x="52578" y="71861"/>
                          <a:pt x="55435" y="69575"/>
                        </a:cubicBezTo>
                      </a:path>
                    </a:pathLst>
                  </a:custGeom>
                  <a:ln w="12700">
                    <a:solidFill>
                      <a:schemeClr val="bg1"/>
                    </a:solidFill>
                  </a:ln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IN" dirty="0"/>
                  </a:p>
                </p:txBody>
              </p:sp>
              <p:sp>
                <p:nvSpPr>
                  <p:cNvPr id="125" name="Freeform: Shape 124">
                    <a:extLst>
                      <a:ext uri="{FF2B5EF4-FFF2-40B4-BE49-F238E27FC236}">
                        <a16:creationId xmlns:a16="http://schemas.microsoft.com/office/drawing/2014/main" id="{2A008258-6C27-71DD-6B8B-6920AAEEEE58}"/>
                      </a:ext>
                    </a:extLst>
                  </p:cNvPr>
                  <p:cNvSpPr/>
                  <p:nvPr/>
                </p:nvSpPr>
                <p:spPr>
                  <a:xfrm>
                    <a:off x="6142767" y="3348037"/>
                    <a:ext cx="47625" cy="9525"/>
                  </a:xfrm>
                  <a:custGeom>
                    <a:avLst/>
                    <a:gdLst>
                      <a:gd name="connsiteX0" fmla="*/ 47625 w 47625"/>
                      <a:gd name="connsiteY0" fmla="*/ 0 h 9525"/>
                      <a:gd name="connsiteX1" fmla="*/ 0 w 47625"/>
                      <a:gd name="connsiteY1" fmla="*/ 0 h 9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625" h="9525">
                        <a:moveTo>
                          <a:pt x="47625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12700">
                    <a:solidFill>
                      <a:schemeClr val="bg1"/>
                    </a:solidFill>
                  </a:ln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IN" dirty="0"/>
                  </a:p>
                </p:txBody>
              </p:sp>
            </p:grpSp>
            <p:grpSp>
              <p:nvGrpSpPr>
                <p:cNvPr id="119" name="Graphic 49">
                  <a:extLst>
                    <a:ext uri="{FF2B5EF4-FFF2-40B4-BE49-F238E27FC236}">
                      <a16:creationId xmlns:a16="http://schemas.microsoft.com/office/drawing/2014/main" id="{BECE72C8-96D7-DD91-9925-6620EDD4C62D}"/>
                    </a:ext>
                  </a:extLst>
                </p:cNvPr>
                <p:cNvGrpSpPr/>
                <p:nvPr/>
              </p:nvGrpSpPr>
              <p:grpSpPr>
                <a:xfrm>
                  <a:off x="5891212" y="3416179"/>
                  <a:ext cx="408179" cy="167349"/>
                  <a:chOff x="5891212" y="3416179"/>
                  <a:chExt cx="408179" cy="167349"/>
                </a:xfrm>
                <a:noFill/>
              </p:grpSpPr>
              <p:sp>
                <p:nvSpPr>
                  <p:cNvPr id="120" name="Freeform: Shape 119">
                    <a:extLst>
                      <a:ext uri="{FF2B5EF4-FFF2-40B4-BE49-F238E27FC236}">
                        <a16:creationId xmlns:a16="http://schemas.microsoft.com/office/drawing/2014/main" id="{BAD0ABD3-233B-DA50-5103-1576414F31B4}"/>
                      </a:ext>
                    </a:extLst>
                  </p:cNvPr>
                  <p:cNvSpPr/>
                  <p:nvPr/>
                </p:nvSpPr>
                <p:spPr>
                  <a:xfrm>
                    <a:off x="5945600" y="3447880"/>
                    <a:ext cx="353791" cy="135648"/>
                  </a:xfrm>
                  <a:custGeom>
                    <a:avLst/>
                    <a:gdLst>
                      <a:gd name="connsiteX0" fmla="*/ 0 w 353791"/>
                      <a:gd name="connsiteY0" fmla="*/ 114850 h 135648"/>
                      <a:gd name="connsiteX1" fmla="*/ 73533 w 353791"/>
                      <a:gd name="connsiteY1" fmla="*/ 71321 h 135648"/>
                      <a:gd name="connsiteX2" fmla="*/ 155924 w 353791"/>
                      <a:gd name="connsiteY2" fmla="*/ 123804 h 135648"/>
                      <a:gd name="connsiteX3" fmla="*/ 211931 w 353791"/>
                      <a:gd name="connsiteY3" fmla="*/ 131138 h 135648"/>
                      <a:gd name="connsiteX4" fmla="*/ 236982 w 353791"/>
                      <a:gd name="connsiteY4" fmla="*/ 115517 h 135648"/>
                      <a:gd name="connsiteX5" fmla="*/ 340233 w 353791"/>
                      <a:gd name="connsiteY5" fmla="*/ 42937 h 135648"/>
                      <a:gd name="connsiteX6" fmla="*/ 351377 w 353791"/>
                      <a:gd name="connsiteY6" fmla="*/ 11409 h 135648"/>
                      <a:gd name="connsiteX7" fmla="*/ 351377 w 353791"/>
                      <a:gd name="connsiteY7" fmla="*/ 11409 h 135648"/>
                      <a:gd name="connsiteX8" fmla="*/ 318992 w 353791"/>
                      <a:gd name="connsiteY8" fmla="*/ 3122 h 135648"/>
                      <a:gd name="connsiteX9" fmla="*/ 228410 w 353791"/>
                      <a:gd name="connsiteY9" fmla="*/ 43318 h 1356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53791" h="135648">
                        <a:moveTo>
                          <a:pt x="0" y="114850"/>
                        </a:moveTo>
                        <a:lnTo>
                          <a:pt x="73533" y="71321"/>
                        </a:lnTo>
                        <a:cubicBezTo>
                          <a:pt x="73533" y="71321"/>
                          <a:pt x="126016" y="102468"/>
                          <a:pt x="155924" y="123804"/>
                        </a:cubicBezTo>
                        <a:cubicBezTo>
                          <a:pt x="185833" y="145140"/>
                          <a:pt x="211931" y="131138"/>
                          <a:pt x="211931" y="131138"/>
                        </a:cubicBezTo>
                        <a:lnTo>
                          <a:pt x="236982" y="115517"/>
                        </a:lnTo>
                        <a:lnTo>
                          <a:pt x="340233" y="42937"/>
                        </a:lnTo>
                        <a:cubicBezTo>
                          <a:pt x="352139" y="36555"/>
                          <a:pt x="357188" y="22363"/>
                          <a:pt x="351377" y="11409"/>
                        </a:cubicBezTo>
                        <a:lnTo>
                          <a:pt x="351377" y="11409"/>
                        </a:lnTo>
                        <a:cubicBezTo>
                          <a:pt x="345567" y="455"/>
                          <a:pt x="330994" y="-3260"/>
                          <a:pt x="318992" y="3122"/>
                        </a:cubicBezTo>
                        <a:lnTo>
                          <a:pt x="228410" y="43318"/>
                        </a:lnTo>
                      </a:path>
                    </a:pathLst>
                  </a:custGeom>
                  <a:ln w="12700">
                    <a:solidFill>
                      <a:schemeClr val="bg1"/>
                    </a:solidFill>
                  </a:ln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IN" dirty="0"/>
                  </a:p>
                </p:txBody>
              </p:sp>
              <p:sp>
                <p:nvSpPr>
                  <p:cNvPr id="121" name="Freeform: Shape 120">
                    <a:extLst>
                      <a:ext uri="{FF2B5EF4-FFF2-40B4-BE49-F238E27FC236}">
                        <a16:creationId xmlns:a16="http://schemas.microsoft.com/office/drawing/2014/main" id="{49505A4A-5B52-91C0-A7A3-430AA86B9BB8}"/>
                      </a:ext>
                    </a:extLst>
                  </p:cNvPr>
                  <p:cNvSpPr/>
                  <p:nvPr/>
                </p:nvSpPr>
                <p:spPr>
                  <a:xfrm>
                    <a:off x="5945314" y="3416179"/>
                    <a:ext cx="227259" cy="101681"/>
                  </a:xfrm>
                  <a:custGeom>
                    <a:avLst/>
                    <a:gdLst>
                      <a:gd name="connsiteX0" fmla="*/ 143637 w 227259"/>
                      <a:gd name="connsiteY0" fmla="*/ 71209 h 101681"/>
                      <a:gd name="connsiteX1" fmla="*/ 186404 w 227259"/>
                      <a:gd name="connsiteY1" fmla="*/ 97593 h 101681"/>
                      <a:gd name="connsiteX2" fmla="*/ 223171 w 227259"/>
                      <a:gd name="connsiteY2" fmla="*/ 89306 h 101681"/>
                      <a:gd name="connsiteX3" fmla="*/ 223171 w 227259"/>
                      <a:gd name="connsiteY3" fmla="*/ 89306 h 101681"/>
                      <a:gd name="connsiteX4" fmla="*/ 214884 w 227259"/>
                      <a:gd name="connsiteY4" fmla="*/ 52540 h 101681"/>
                      <a:gd name="connsiteX5" fmla="*/ 146590 w 227259"/>
                      <a:gd name="connsiteY5" fmla="*/ 8820 h 101681"/>
                      <a:gd name="connsiteX6" fmla="*/ 56960 w 227259"/>
                      <a:gd name="connsiteY6" fmla="*/ 20726 h 101681"/>
                      <a:gd name="connsiteX7" fmla="*/ 0 w 227259"/>
                      <a:gd name="connsiteY7" fmla="*/ 56635 h 1016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27259" h="101681">
                        <a:moveTo>
                          <a:pt x="143637" y="71209"/>
                        </a:moveTo>
                        <a:lnTo>
                          <a:pt x="186404" y="97593"/>
                        </a:lnTo>
                        <a:cubicBezTo>
                          <a:pt x="198787" y="105403"/>
                          <a:pt x="215360" y="101689"/>
                          <a:pt x="223171" y="89306"/>
                        </a:cubicBezTo>
                        <a:lnTo>
                          <a:pt x="223171" y="89306"/>
                        </a:lnTo>
                        <a:cubicBezTo>
                          <a:pt x="230981" y="76924"/>
                          <a:pt x="227267" y="60350"/>
                          <a:pt x="214884" y="52540"/>
                        </a:cubicBezTo>
                        <a:lnTo>
                          <a:pt x="146590" y="8820"/>
                        </a:lnTo>
                        <a:cubicBezTo>
                          <a:pt x="146590" y="8820"/>
                          <a:pt x="117443" y="-17469"/>
                          <a:pt x="56960" y="20726"/>
                        </a:cubicBezTo>
                        <a:lnTo>
                          <a:pt x="0" y="56635"/>
                        </a:lnTo>
                      </a:path>
                    </a:pathLst>
                  </a:custGeom>
                  <a:ln w="12700">
                    <a:solidFill>
                      <a:schemeClr val="bg1"/>
                    </a:solidFill>
                  </a:ln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IN" dirty="0"/>
                  </a:p>
                </p:txBody>
              </p:sp>
              <p:sp>
                <p:nvSpPr>
                  <p:cNvPr id="122" name="Freeform: Shape 121">
                    <a:extLst>
                      <a:ext uri="{FF2B5EF4-FFF2-40B4-BE49-F238E27FC236}">
                        <a16:creationId xmlns:a16="http://schemas.microsoft.com/office/drawing/2014/main" id="{ADDC300F-0263-1AE2-040A-405D0FF54CC7}"/>
                      </a:ext>
                    </a:extLst>
                  </p:cNvPr>
                  <p:cNvSpPr/>
                  <p:nvPr/>
                </p:nvSpPr>
                <p:spPr>
                  <a:xfrm rot="-5400000">
                    <a:off x="5856541" y="3486816"/>
                    <a:ext cx="120396" cy="51053"/>
                  </a:xfrm>
                  <a:custGeom>
                    <a:avLst/>
                    <a:gdLst>
                      <a:gd name="connsiteX0" fmla="*/ 0 w 120396"/>
                      <a:gd name="connsiteY0" fmla="*/ 0 h 51053"/>
                      <a:gd name="connsiteX1" fmla="*/ 120396 w 120396"/>
                      <a:gd name="connsiteY1" fmla="*/ 0 h 51053"/>
                      <a:gd name="connsiteX2" fmla="*/ 120396 w 120396"/>
                      <a:gd name="connsiteY2" fmla="*/ 51054 h 51053"/>
                      <a:gd name="connsiteX3" fmla="*/ 0 w 120396"/>
                      <a:gd name="connsiteY3" fmla="*/ 51054 h 51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0396" h="51053">
                        <a:moveTo>
                          <a:pt x="0" y="0"/>
                        </a:moveTo>
                        <a:lnTo>
                          <a:pt x="120396" y="0"/>
                        </a:lnTo>
                        <a:lnTo>
                          <a:pt x="120396" y="51054"/>
                        </a:lnTo>
                        <a:lnTo>
                          <a:pt x="0" y="51054"/>
                        </a:lnTo>
                        <a:close/>
                      </a:path>
                    </a:pathLst>
                  </a:custGeom>
                  <a:ln w="12700">
                    <a:solidFill>
                      <a:schemeClr val="bg1"/>
                    </a:solidFill>
                  </a:ln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IN" dirty="0"/>
                  </a:p>
                </p:txBody>
              </p:sp>
            </p:grpSp>
          </p:grp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42A4434E-1384-AD02-6F6C-90FFCE5815DC}"/>
                </a:ext>
              </a:extLst>
            </p:cNvPr>
            <p:cNvGrpSpPr/>
            <p:nvPr/>
          </p:nvGrpSpPr>
          <p:grpSpPr>
            <a:xfrm>
              <a:off x="5762623" y="3808617"/>
              <a:ext cx="548640" cy="548640"/>
              <a:chOff x="5762623" y="3808617"/>
              <a:chExt cx="548640" cy="548640"/>
            </a:xfrm>
          </p:grpSpPr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CCB9860F-BE31-6A79-15A0-F6426CFA3323}"/>
                  </a:ext>
                </a:extLst>
              </p:cNvPr>
              <p:cNvSpPr/>
              <p:nvPr/>
            </p:nvSpPr>
            <p:spPr>
              <a:xfrm>
                <a:off x="5762623" y="3808617"/>
                <a:ext cx="548640" cy="548640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571869E8-C926-DCAF-3FC1-7391EBE3BB9A}"/>
                  </a:ext>
                </a:extLst>
              </p:cNvPr>
              <p:cNvGrpSpPr/>
              <p:nvPr/>
            </p:nvGrpSpPr>
            <p:grpSpPr>
              <a:xfrm>
                <a:off x="5874983" y="3898901"/>
                <a:ext cx="323920" cy="325210"/>
                <a:chOff x="4448364" y="1776317"/>
                <a:chExt cx="3291744" cy="3304889"/>
              </a:xfrm>
            </p:grpSpPr>
            <p:sp>
              <p:nvSpPr>
                <p:cNvPr id="102" name="Freeform: Shape 101">
                  <a:extLst>
                    <a:ext uri="{FF2B5EF4-FFF2-40B4-BE49-F238E27FC236}">
                      <a16:creationId xmlns:a16="http://schemas.microsoft.com/office/drawing/2014/main" id="{450D4BB0-F857-BF26-AFDC-0BBD7E3D936D}"/>
                    </a:ext>
                  </a:extLst>
                </p:cNvPr>
                <p:cNvSpPr/>
                <p:nvPr/>
              </p:nvSpPr>
              <p:spPr>
                <a:xfrm>
                  <a:off x="5659659" y="4897469"/>
                  <a:ext cx="838962" cy="70865"/>
                </a:xfrm>
                <a:custGeom>
                  <a:avLst/>
                  <a:gdLst>
                    <a:gd name="connsiteX0" fmla="*/ 838962 w 838962"/>
                    <a:gd name="connsiteY0" fmla="*/ 9715 h 70865"/>
                    <a:gd name="connsiteX1" fmla="*/ 434435 w 838962"/>
                    <a:gd name="connsiteY1" fmla="*/ 70866 h 70865"/>
                    <a:gd name="connsiteX2" fmla="*/ 0 w 838962"/>
                    <a:gd name="connsiteY2" fmla="*/ 0 h 70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8962" h="70865">
                      <a:moveTo>
                        <a:pt x="838962" y="9715"/>
                      </a:moveTo>
                      <a:cubicBezTo>
                        <a:pt x="711137" y="49434"/>
                        <a:pt x="575310" y="70866"/>
                        <a:pt x="434435" y="70866"/>
                      </a:cubicBezTo>
                      <a:cubicBezTo>
                        <a:pt x="282512" y="70866"/>
                        <a:pt x="136398" y="46006"/>
                        <a:pt x="0" y="0"/>
                      </a:cubicBezTo>
                    </a:path>
                  </a:pathLst>
                </a:custGeom>
                <a:ln w="12700">
                  <a:solidFill>
                    <a:schemeClr val="bg1"/>
                  </a:solidFill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dirty="0"/>
                </a:p>
              </p:txBody>
            </p:sp>
            <p:grpSp>
              <p:nvGrpSpPr>
                <p:cNvPr id="103" name="Graphic 61">
                  <a:extLst>
                    <a:ext uri="{FF2B5EF4-FFF2-40B4-BE49-F238E27FC236}">
                      <a16:creationId xmlns:a16="http://schemas.microsoft.com/office/drawing/2014/main" id="{46A48422-EB4E-B6C3-E85B-17D5ED9B06C7}"/>
                    </a:ext>
                  </a:extLst>
                </p:cNvPr>
                <p:cNvGrpSpPr/>
                <p:nvPr/>
              </p:nvGrpSpPr>
              <p:grpSpPr>
                <a:xfrm>
                  <a:off x="4448364" y="1776317"/>
                  <a:ext cx="3291744" cy="3304889"/>
                  <a:chOff x="4448364" y="1776317"/>
                  <a:chExt cx="3291744" cy="3304889"/>
                </a:xfrm>
                <a:noFill/>
              </p:grpSpPr>
              <p:grpSp>
                <p:nvGrpSpPr>
                  <p:cNvPr id="104" name="Graphic 61">
                    <a:extLst>
                      <a:ext uri="{FF2B5EF4-FFF2-40B4-BE49-F238E27FC236}">
                        <a16:creationId xmlns:a16="http://schemas.microsoft.com/office/drawing/2014/main" id="{3BC791E4-89E2-7EB3-8B32-1F97FD750664}"/>
                      </a:ext>
                    </a:extLst>
                  </p:cNvPr>
                  <p:cNvGrpSpPr/>
                  <p:nvPr/>
                </p:nvGrpSpPr>
                <p:grpSpPr>
                  <a:xfrm>
                    <a:off x="4448364" y="1776317"/>
                    <a:ext cx="3291744" cy="3304889"/>
                    <a:chOff x="4448364" y="1776317"/>
                    <a:chExt cx="3291744" cy="3304889"/>
                  </a:xfrm>
                  <a:noFill/>
                </p:grpSpPr>
                <p:grpSp>
                  <p:nvGrpSpPr>
                    <p:cNvPr id="107" name="Graphic 61">
                      <a:extLst>
                        <a:ext uri="{FF2B5EF4-FFF2-40B4-BE49-F238E27FC236}">
                          <a16:creationId xmlns:a16="http://schemas.microsoft.com/office/drawing/2014/main" id="{B6A0DF87-71C1-49CA-75C5-222B8CA5380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546216" y="1776317"/>
                      <a:ext cx="1093279" cy="1396269"/>
                      <a:chOff x="5546216" y="1776317"/>
                      <a:chExt cx="1093279" cy="1396269"/>
                    </a:xfrm>
                    <a:noFill/>
                  </p:grpSpPr>
                  <p:sp>
                    <p:nvSpPr>
                      <p:cNvPr id="114" name="Freeform: Shape 113">
                        <a:extLst>
                          <a:ext uri="{FF2B5EF4-FFF2-40B4-BE49-F238E27FC236}">
                            <a16:creationId xmlns:a16="http://schemas.microsoft.com/office/drawing/2014/main" id="{C65B2528-D80F-FE80-E666-6461066AB1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759409" y="1776317"/>
                        <a:ext cx="661233" cy="811244"/>
                      </a:xfrm>
                      <a:custGeom>
                        <a:avLst/>
                        <a:gdLst>
                          <a:gd name="connsiteX0" fmla="*/ 580144 w 661233"/>
                          <a:gd name="connsiteY0" fmla="*/ 602647 h 811244"/>
                          <a:gd name="connsiteX1" fmla="*/ 346972 w 661233"/>
                          <a:gd name="connsiteY1" fmla="*/ 811244 h 811244"/>
                          <a:gd name="connsiteX2" fmla="*/ 322588 w 661233"/>
                          <a:gd name="connsiteY2" fmla="*/ 811244 h 811244"/>
                          <a:gd name="connsiteX3" fmla="*/ 102085 w 661233"/>
                          <a:gd name="connsiteY3" fmla="*/ 614458 h 811244"/>
                          <a:gd name="connsiteX4" fmla="*/ 11502 w 661233"/>
                          <a:gd name="connsiteY4" fmla="*/ 507587 h 811244"/>
                          <a:gd name="connsiteX5" fmla="*/ 45697 w 661233"/>
                          <a:gd name="connsiteY5" fmla="*/ 402908 h 811244"/>
                          <a:gd name="connsiteX6" fmla="*/ 45697 w 661233"/>
                          <a:gd name="connsiteY6" fmla="*/ 269748 h 811244"/>
                          <a:gd name="connsiteX7" fmla="*/ 315445 w 661233"/>
                          <a:gd name="connsiteY7" fmla="*/ 0 h 811244"/>
                          <a:gd name="connsiteX8" fmla="*/ 354116 w 661233"/>
                          <a:gd name="connsiteY8" fmla="*/ 0 h 811244"/>
                          <a:gd name="connsiteX9" fmla="*/ 623864 w 661233"/>
                          <a:gd name="connsiteY9" fmla="*/ 269748 h 811244"/>
                          <a:gd name="connsiteX10" fmla="*/ 623864 w 661233"/>
                          <a:gd name="connsiteY10" fmla="*/ 400717 h 811244"/>
                          <a:gd name="connsiteX11" fmla="*/ 657773 w 661233"/>
                          <a:gd name="connsiteY11" fmla="*/ 467487 h 811244"/>
                          <a:gd name="connsiteX12" fmla="*/ 580144 w 661233"/>
                          <a:gd name="connsiteY12" fmla="*/ 602647 h 81124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</a:cxnLst>
                        <a:rect l="l" t="t" r="r" b="b"/>
                        <a:pathLst>
                          <a:path w="661233" h="811244">
                            <a:moveTo>
                              <a:pt x="580144" y="602647"/>
                            </a:moveTo>
                            <a:cubicBezTo>
                              <a:pt x="580144" y="602647"/>
                              <a:pt x="493848" y="811244"/>
                              <a:pt x="346972" y="811244"/>
                            </a:cubicBezTo>
                            <a:lnTo>
                              <a:pt x="322588" y="811244"/>
                            </a:lnTo>
                            <a:cubicBezTo>
                              <a:pt x="169045" y="811244"/>
                              <a:pt x="102085" y="614458"/>
                              <a:pt x="102085" y="614458"/>
                            </a:cubicBezTo>
                            <a:cubicBezTo>
                              <a:pt x="56269" y="602837"/>
                              <a:pt x="26265" y="548831"/>
                              <a:pt x="11502" y="507587"/>
                            </a:cubicBezTo>
                            <a:cubicBezTo>
                              <a:pt x="-27646" y="387001"/>
                              <a:pt x="45697" y="402908"/>
                              <a:pt x="45697" y="402908"/>
                            </a:cubicBezTo>
                            <a:lnTo>
                              <a:pt x="45697" y="269748"/>
                            </a:lnTo>
                            <a:cubicBezTo>
                              <a:pt x="45697" y="121348"/>
                              <a:pt x="167045" y="0"/>
                              <a:pt x="315445" y="0"/>
                            </a:cubicBezTo>
                            <a:lnTo>
                              <a:pt x="354116" y="0"/>
                            </a:lnTo>
                            <a:cubicBezTo>
                              <a:pt x="502516" y="0"/>
                              <a:pt x="623864" y="121348"/>
                              <a:pt x="623864" y="269748"/>
                            </a:cubicBezTo>
                            <a:lnTo>
                              <a:pt x="623864" y="400717"/>
                            </a:lnTo>
                            <a:cubicBezTo>
                              <a:pt x="623864" y="400717"/>
                              <a:pt x="674728" y="387096"/>
                              <a:pt x="657773" y="467487"/>
                            </a:cubicBezTo>
                            <a:cubicBezTo>
                              <a:pt x="645105" y="534162"/>
                              <a:pt x="624150" y="593884"/>
                              <a:pt x="580144" y="602647"/>
                            </a:cubicBezTo>
                            <a:close/>
                          </a:path>
                        </a:pathLst>
                      </a:custGeom>
                      <a:ln w="12700">
                        <a:solidFill>
                          <a:schemeClr val="bg1"/>
                        </a:solidFill>
                      </a:ln>
                    </p:spPr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15" name="Freeform: Shape 114">
                        <a:extLst>
                          <a:ext uri="{FF2B5EF4-FFF2-40B4-BE49-F238E27FC236}">
                            <a16:creationId xmlns:a16="http://schemas.microsoft.com/office/drawing/2014/main" id="{AC5097E7-88D0-B8C4-C83F-1EEEEDB8BE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46216" y="2600991"/>
                        <a:ext cx="1093279" cy="571595"/>
                      </a:xfrm>
                      <a:custGeom>
                        <a:avLst/>
                        <a:gdLst>
                          <a:gd name="connsiteX0" fmla="*/ 366808 w 1093279"/>
                          <a:gd name="connsiteY0" fmla="*/ 0 h 571595"/>
                          <a:gd name="connsiteX1" fmla="*/ 72962 w 1093279"/>
                          <a:gd name="connsiteY1" fmla="*/ 125730 h 571595"/>
                          <a:gd name="connsiteX2" fmla="*/ 12668 w 1093279"/>
                          <a:gd name="connsiteY2" fmla="*/ 227267 h 571595"/>
                          <a:gd name="connsiteX3" fmla="*/ 0 w 1093279"/>
                          <a:gd name="connsiteY3" fmla="*/ 571595 h 571595"/>
                          <a:gd name="connsiteX4" fmla="*/ 1093280 w 1093279"/>
                          <a:gd name="connsiteY4" fmla="*/ 571595 h 571595"/>
                          <a:gd name="connsiteX5" fmla="*/ 1080611 w 1093279"/>
                          <a:gd name="connsiteY5" fmla="*/ 236792 h 571595"/>
                          <a:gd name="connsiteX6" fmla="*/ 998125 w 1093279"/>
                          <a:gd name="connsiteY6" fmla="*/ 120967 h 571595"/>
                          <a:gd name="connsiteX7" fmla="*/ 717423 w 1093279"/>
                          <a:gd name="connsiteY7" fmla="*/ 3715 h 57159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1093279" h="571595">
                            <a:moveTo>
                              <a:pt x="366808" y="0"/>
                            </a:moveTo>
                            <a:lnTo>
                              <a:pt x="72962" y="125730"/>
                            </a:lnTo>
                            <a:cubicBezTo>
                              <a:pt x="72962" y="125730"/>
                              <a:pt x="19050" y="152686"/>
                              <a:pt x="12668" y="227267"/>
                            </a:cubicBezTo>
                            <a:cubicBezTo>
                              <a:pt x="6287" y="301847"/>
                              <a:pt x="0" y="571595"/>
                              <a:pt x="0" y="571595"/>
                            </a:cubicBezTo>
                            <a:lnTo>
                              <a:pt x="1093280" y="571595"/>
                            </a:lnTo>
                            <a:lnTo>
                              <a:pt x="1080611" y="236792"/>
                            </a:lnTo>
                            <a:cubicBezTo>
                              <a:pt x="1080611" y="236792"/>
                              <a:pt x="1086993" y="159067"/>
                              <a:pt x="998125" y="120967"/>
                            </a:cubicBezTo>
                            <a:cubicBezTo>
                              <a:pt x="909257" y="82867"/>
                              <a:pt x="717423" y="3715"/>
                              <a:pt x="717423" y="3715"/>
                            </a:cubicBezTo>
                          </a:path>
                        </a:pathLst>
                      </a:custGeom>
                      <a:ln w="12700">
                        <a:solidFill>
                          <a:schemeClr val="bg1"/>
                        </a:solidFill>
                      </a:ln>
                    </p:spPr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en-IN" dirty="0"/>
                      </a:p>
                    </p:txBody>
                  </p:sp>
                </p:grpSp>
                <p:grpSp>
                  <p:nvGrpSpPr>
                    <p:cNvPr id="108" name="Graphic 61">
                      <a:extLst>
                        <a:ext uri="{FF2B5EF4-FFF2-40B4-BE49-F238E27FC236}">
                          <a16:creationId xmlns:a16="http://schemas.microsoft.com/office/drawing/2014/main" id="{04A64E26-F56C-6E7D-D24E-F53B53E794B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448364" y="3685032"/>
                      <a:ext cx="1093279" cy="1396174"/>
                      <a:chOff x="4448364" y="3685032"/>
                      <a:chExt cx="1093279" cy="1396174"/>
                    </a:xfrm>
                    <a:noFill/>
                  </p:grpSpPr>
                  <p:sp>
                    <p:nvSpPr>
                      <p:cNvPr id="112" name="Freeform: Shape 111">
                        <a:extLst>
                          <a:ext uri="{FF2B5EF4-FFF2-40B4-BE49-F238E27FC236}">
                            <a16:creationId xmlns:a16="http://schemas.microsoft.com/office/drawing/2014/main" id="{50B84F66-4B16-845B-F7E1-D76CE3D7EF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61558" y="3685032"/>
                        <a:ext cx="661233" cy="811244"/>
                      </a:xfrm>
                      <a:custGeom>
                        <a:avLst/>
                        <a:gdLst>
                          <a:gd name="connsiteX0" fmla="*/ 580144 w 661233"/>
                          <a:gd name="connsiteY0" fmla="*/ 602647 h 811244"/>
                          <a:gd name="connsiteX1" fmla="*/ 346972 w 661233"/>
                          <a:gd name="connsiteY1" fmla="*/ 811244 h 811244"/>
                          <a:gd name="connsiteX2" fmla="*/ 322588 w 661233"/>
                          <a:gd name="connsiteY2" fmla="*/ 811244 h 811244"/>
                          <a:gd name="connsiteX3" fmla="*/ 102084 w 661233"/>
                          <a:gd name="connsiteY3" fmla="*/ 614458 h 811244"/>
                          <a:gd name="connsiteX4" fmla="*/ 11502 w 661233"/>
                          <a:gd name="connsiteY4" fmla="*/ 507587 h 811244"/>
                          <a:gd name="connsiteX5" fmla="*/ 45696 w 661233"/>
                          <a:gd name="connsiteY5" fmla="*/ 402907 h 811244"/>
                          <a:gd name="connsiteX6" fmla="*/ 45696 w 661233"/>
                          <a:gd name="connsiteY6" fmla="*/ 269748 h 811244"/>
                          <a:gd name="connsiteX7" fmla="*/ 315444 w 661233"/>
                          <a:gd name="connsiteY7" fmla="*/ 0 h 811244"/>
                          <a:gd name="connsiteX8" fmla="*/ 354116 w 661233"/>
                          <a:gd name="connsiteY8" fmla="*/ 0 h 811244"/>
                          <a:gd name="connsiteX9" fmla="*/ 623864 w 661233"/>
                          <a:gd name="connsiteY9" fmla="*/ 269748 h 811244"/>
                          <a:gd name="connsiteX10" fmla="*/ 623864 w 661233"/>
                          <a:gd name="connsiteY10" fmla="*/ 400717 h 811244"/>
                          <a:gd name="connsiteX11" fmla="*/ 657773 w 661233"/>
                          <a:gd name="connsiteY11" fmla="*/ 467487 h 811244"/>
                          <a:gd name="connsiteX12" fmla="*/ 580144 w 661233"/>
                          <a:gd name="connsiteY12" fmla="*/ 602647 h 81124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</a:cxnLst>
                        <a:rect l="l" t="t" r="r" b="b"/>
                        <a:pathLst>
                          <a:path w="661233" h="811244">
                            <a:moveTo>
                              <a:pt x="580144" y="602647"/>
                            </a:moveTo>
                            <a:cubicBezTo>
                              <a:pt x="580144" y="602647"/>
                              <a:pt x="493848" y="811244"/>
                              <a:pt x="346972" y="811244"/>
                            </a:cubicBezTo>
                            <a:lnTo>
                              <a:pt x="322588" y="811244"/>
                            </a:lnTo>
                            <a:cubicBezTo>
                              <a:pt x="169045" y="811244"/>
                              <a:pt x="102084" y="614458"/>
                              <a:pt x="102084" y="614458"/>
                            </a:cubicBezTo>
                            <a:cubicBezTo>
                              <a:pt x="56269" y="602837"/>
                              <a:pt x="26265" y="548830"/>
                              <a:pt x="11502" y="507587"/>
                            </a:cubicBezTo>
                            <a:cubicBezTo>
                              <a:pt x="-27646" y="387001"/>
                              <a:pt x="45696" y="402907"/>
                              <a:pt x="45696" y="402907"/>
                            </a:cubicBezTo>
                            <a:lnTo>
                              <a:pt x="45696" y="269748"/>
                            </a:lnTo>
                            <a:cubicBezTo>
                              <a:pt x="45696" y="121348"/>
                              <a:pt x="167045" y="0"/>
                              <a:pt x="315444" y="0"/>
                            </a:cubicBezTo>
                            <a:lnTo>
                              <a:pt x="354116" y="0"/>
                            </a:lnTo>
                            <a:cubicBezTo>
                              <a:pt x="502516" y="0"/>
                              <a:pt x="623864" y="121348"/>
                              <a:pt x="623864" y="269748"/>
                            </a:cubicBezTo>
                            <a:lnTo>
                              <a:pt x="623864" y="400717"/>
                            </a:lnTo>
                            <a:cubicBezTo>
                              <a:pt x="623864" y="400717"/>
                              <a:pt x="674727" y="387096"/>
                              <a:pt x="657773" y="467487"/>
                            </a:cubicBezTo>
                            <a:cubicBezTo>
                              <a:pt x="645105" y="534162"/>
                              <a:pt x="624150" y="593884"/>
                              <a:pt x="580144" y="602647"/>
                            </a:cubicBezTo>
                            <a:close/>
                          </a:path>
                        </a:pathLst>
                      </a:custGeom>
                      <a:ln w="12700">
                        <a:solidFill>
                          <a:schemeClr val="bg1"/>
                        </a:solidFill>
                      </a:ln>
                    </p:spPr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13" name="Freeform: Shape 112">
                        <a:extLst>
                          <a:ext uri="{FF2B5EF4-FFF2-40B4-BE49-F238E27FC236}">
                            <a16:creationId xmlns:a16="http://schemas.microsoft.com/office/drawing/2014/main" id="{B04F53A9-10D2-3FDF-DECD-3872F44DCE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448364" y="4509611"/>
                        <a:ext cx="1093279" cy="571595"/>
                      </a:xfrm>
                      <a:custGeom>
                        <a:avLst/>
                        <a:gdLst>
                          <a:gd name="connsiteX0" fmla="*/ 366808 w 1093279"/>
                          <a:gd name="connsiteY0" fmla="*/ 0 h 571595"/>
                          <a:gd name="connsiteX1" fmla="*/ 72962 w 1093279"/>
                          <a:gd name="connsiteY1" fmla="*/ 125730 h 571595"/>
                          <a:gd name="connsiteX2" fmla="*/ 12668 w 1093279"/>
                          <a:gd name="connsiteY2" fmla="*/ 227266 h 571595"/>
                          <a:gd name="connsiteX3" fmla="*/ 0 w 1093279"/>
                          <a:gd name="connsiteY3" fmla="*/ 571595 h 571595"/>
                          <a:gd name="connsiteX4" fmla="*/ 1093280 w 1093279"/>
                          <a:gd name="connsiteY4" fmla="*/ 571595 h 571595"/>
                          <a:gd name="connsiteX5" fmla="*/ 1080611 w 1093279"/>
                          <a:gd name="connsiteY5" fmla="*/ 236791 h 571595"/>
                          <a:gd name="connsiteX6" fmla="*/ 998125 w 1093279"/>
                          <a:gd name="connsiteY6" fmla="*/ 120967 h 571595"/>
                          <a:gd name="connsiteX7" fmla="*/ 717423 w 1093279"/>
                          <a:gd name="connsiteY7" fmla="*/ 3715 h 57159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1093279" h="571595">
                            <a:moveTo>
                              <a:pt x="366808" y="0"/>
                            </a:moveTo>
                            <a:lnTo>
                              <a:pt x="72962" y="125730"/>
                            </a:lnTo>
                            <a:cubicBezTo>
                              <a:pt x="72962" y="125730"/>
                              <a:pt x="19050" y="152686"/>
                              <a:pt x="12668" y="227266"/>
                            </a:cubicBezTo>
                            <a:cubicBezTo>
                              <a:pt x="6286" y="301847"/>
                              <a:pt x="0" y="571595"/>
                              <a:pt x="0" y="571595"/>
                            </a:cubicBezTo>
                            <a:lnTo>
                              <a:pt x="1093280" y="571595"/>
                            </a:lnTo>
                            <a:lnTo>
                              <a:pt x="1080611" y="236791"/>
                            </a:lnTo>
                            <a:cubicBezTo>
                              <a:pt x="1080611" y="236791"/>
                              <a:pt x="1086993" y="159067"/>
                              <a:pt x="998125" y="120967"/>
                            </a:cubicBezTo>
                            <a:cubicBezTo>
                              <a:pt x="909257" y="82867"/>
                              <a:pt x="717423" y="3715"/>
                              <a:pt x="717423" y="3715"/>
                            </a:cubicBezTo>
                          </a:path>
                        </a:pathLst>
                      </a:custGeom>
                      <a:ln w="12700">
                        <a:solidFill>
                          <a:schemeClr val="bg1"/>
                        </a:solidFill>
                      </a:ln>
                    </p:spPr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en-IN" dirty="0"/>
                      </a:p>
                    </p:txBody>
                  </p:sp>
                </p:grpSp>
                <p:grpSp>
                  <p:nvGrpSpPr>
                    <p:cNvPr id="109" name="Graphic 61">
                      <a:extLst>
                        <a:ext uri="{FF2B5EF4-FFF2-40B4-BE49-F238E27FC236}">
                          <a16:creationId xmlns:a16="http://schemas.microsoft.com/office/drawing/2014/main" id="{504ED361-5394-D748-3B22-8A59DABBA54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646830" y="3685032"/>
                      <a:ext cx="1093279" cy="1396174"/>
                      <a:chOff x="6646830" y="3685032"/>
                      <a:chExt cx="1093279" cy="1396174"/>
                    </a:xfrm>
                    <a:noFill/>
                  </p:grpSpPr>
                  <p:sp>
                    <p:nvSpPr>
                      <p:cNvPr id="110" name="Freeform: Shape 109">
                        <a:extLst>
                          <a:ext uri="{FF2B5EF4-FFF2-40B4-BE49-F238E27FC236}">
                            <a16:creationId xmlns:a16="http://schemas.microsoft.com/office/drawing/2014/main" id="{02DFF131-9F7F-5269-8931-17269C879F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860023" y="3685032"/>
                        <a:ext cx="661232" cy="811244"/>
                      </a:xfrm>
                      <a:custGeom>
                        <a:avLst/>
                        <a:gdLst>
                          <a:gd name="connsiteX0" fmla="*/ 580144 w 661232"/>
                          <a:gd name="connsiteY0" fmla="*/ 602647 h 811244"/>
                          <a:gd name="connsiteX1" fmla="*/ 346972 w 661232"/>
                          <a:gd name="connsiteY1" fmla="*/ 811244 h 811244"/>
                          <a:gd name="connsiteX2" fmla="*/ 322588 w 661232"/>
                          <a:gd name="connsiteY2" fmla="*/ 811244 h 811244"/>
                          <a:gd name="connsiteX3" fmla="*/ 102084 w 661232"/>
                          <a:gd name="connsiteY3" fmla="*/ 614458 h 811244"/>
                          <a:gd name="connsiteX4" fmla="*/ 11502 w 661232"/>
                          <a:gd name="connsiteY4" fmla="*/ 507587 h 811244"/>
                          <a:gd name="connsiteX5" fmla="*/ 45697 w 661232"/>
                          <a:gd name="connsiteY5" fmla="*/ 402907 h 811244"/>
                          <a:gd name="connsiteX6" fmla="*/ 45697 w 661232"/>
                          <a:gd name="connsiteY6" fmla="*/ 269748 h 811244"/>
                          <a:gd name="connsiteX7" fmla="*/ 315444 w 661232"/>
                          <a:gd name="connsiteY7" fmla="*/ 0 h 811244"/>
                          <a:gd name="connsiteX8" fmla="*/ 354116 w 661232"/>
                          <a:gd name="connsiteY8" fmla="*/ 0 h 811244"/>
                          <a:gd name="connsiteX9" fmla="*/ 623864 w 661232"/>
                          <a:gd name="connsiteY9" fmla="*/ 269748 h 811244"/>
                          <a:gd name="connsiteX10" fmla="*/ 623864 w 661232"/>
                          <a:gd name="connsiteY10" fmla="*/ 400717 h 811244"/>
                          <a:gd name="connsiteX11" fmla="*/ 657773 w 661232"/>
                          <a:gd name="connsiteY11" fmla="*/ 467487 h 811244"/>
                          <a:gd name="connsiteX12" fmla="*/ 580144 w 661232"/>
                          <a:gd name="connsiteY12" fmla="*/ 602647 h 81124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</a:cxnLst>
                        <a:rect l="l" t="t" r="r" b="b"/>
                        <a:pathLst>
                          <a:path w="661232" h="811244">
                            <a:moveTo>
                              <a:pt x="580144" y="602647"/>
                            </a:moveTo>
                            <a:cubicBezTo>
                              <a:pt x="580144" y="602647"/>
                              <a:pt x="493848" y="811244"/>
                              <a:pt x="346972" y="811244"/>
                            </a:cubicBezTo>
                            <a:lnTo>
                              <a:pt x="322588" y="811244"/>
                            </a:lnTo>
                            <a:cubicBezTo>
                              <a:pt x="169045" y="811244"/>
                              <a:pt x="102084" y="614458"/>
                              <a:pt x="102084" y="614458"/>
                            </a:cubicBezTo>
                            <a:cubicBezTo>
                              <a:pt x="56269" y="602837"/>
                              <a:pt x="26265" y="548830"/>
                              <a:pt x="11502" y="507587"/>
                            </a:cubicBezTo>
                            <a:cubicBezTo>
                              <a:pt x="-27646" y="387001"/>
                              <a:pt x="45697" y="402907"/>
                              <a:pt x="45697" y="402907"/>
                            </a:cubicBezTo>
                            <a:lnTo>
                              <a:pt x="45697" y="269748"/>
                            </a:lnTo>
                            <a:cubicBezTo>
                              <a:pt x="45697" y="121348"/>
                              <a:pt x="167045" y="0"/>
                              <a:pt x="315444" y="0"/>
                            </a:cubicBezTo>
                            <a:lnTo>
                              <a:pt x="354116" y="0"/>
                            </a:lnTo>
                            <a:cubicBezTo>
                              <a:pt x="502516" y="0"/>
                              <a:pt x="623864" y="121348"/>
                              <a:pt x="623864" y="269748"/>
                            </a:cubicBezTo>
                            <a:lnTo>
                              <a:pt x="623864" y="400717"/>
                            </a:lnTo>
                            <a:cubicBezTo>
                              <a:pt x="623864" y="400717"/>
                              <a:pt x="674727" y="387096"/>
                              <a:pt x="657773" y="467487"/>
                            </a:cubicBezTo>
                            <a:cubicBezTo>
                              <a:pt x="645105" y="534162"/>
                              <a:pt x="624150" y="593884"/>
                              <a:pt x="580144" y="602647"/>
                            </a:cubicBezTo>
                            <a:close/>
                          </a:path>
                        </a:pathLst>
                      </a:custGeom>
                      <a:ln w="12700">
                        <a:solidFill>
                          <a:schemeClr val="bg1"/>
                        </a:solidFill>
                      </a:ln>
                    </p:spPr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11" name="Freeform: Shape 110">
                        <a:extLst>
                          <a:ext uri="{FF2B5EF4-FFF2-40B4-BE49-F238E27FC236}">
                            <a16:creationId xmlns:a16="http://schemas.microsoft.com/office/drawing/2014/main" id="{2B3D8B12-C406-1BDF-2160-1496300729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646830" y="4509611"/>
                        <a:ext cx="1093279" cy="571595"/>
                      </a:xfrm>
                      <a:custGeom>
                        <a:avLst/>
                        <a:gdLst>
                          <a:gd name="connsiteX0" fmla="*/ 366808 w 1093279"/>
                          <a:gd name="connsiteY0" fmla="*/ 0 h 571595"/>
                          <a:gd name="connsiteX1" fmla="*/ 72962 w 1093279"/>
                          <a:gd name="connsiteY1" fmla="*/ 125730 h 571595"/>
                          <a:gd name="connsiteX2" fmla="*/ 12668 w 1093279"/>
                          <a:gd name="connsiteY2" fmla="*/ 227266 h 571595"/>
                          <a:gd name="connsiteX3" fmla="*/ 0 w 1093279"/>
                          <a:gd name="connsiteY3" fmla="*/ 571595 h 571595"/>
                          <a:gd name="connsiteX4" fmla="*/ 1093279 w 1093279"/>
                          <a:gd name="connsiteY4" fmla="*/ 571595 h 571595"/>
                          <a:gd name="connsiteX5" fmla="*/ 1080611 w 1093279"/>
                          <a:gd name="connsiteY5" fmla="*/ 236791 h 571595"/>
                          <a:gd name="connsiteX6" fmla="*/ 998125 w 1093279"/>
                          <a:gd name="connsiteY6" fmla="*/ 120967 h 571595"/>
                          <a:gd name="connsiteX7" fmla="*/ 717423 w 1093279"/>
                          <a:gd name="connsiteY7" fmla="*/ 3715 h 57159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1093279" h="571595">
                            <a:moveTo>
                              <a:pt x="366808" y="0"/>
                            </a:moveTo>
                            <a:lnTo>
                              <a:pt x="72962" y="125730"/>
                            </a:lnTo>
                            <a:cubicBezTo>
                              <a:pt x="72962" y="125730"/>
                              <a:pt x="19050" y="152686"/>
                              <a:pt x="12668" y="227266"/>
                            </a:cubicBezTo>
                            <a:cubicBezTo>
                              <a:pt x="6287" y="301847"/>
                              <a:pt x="0" y="571595"/>
                              <a:pt x="0" y="571595"/>
                            </a:cubicBezTo>
                            <a:lnTo>
                              <a:pt x="1093279" y="571595"/>
                            </a:lnTo>
                            <a:lnTo>
                              <a:pt x="1080611" y="236791"/>
                            </a:lnTo>
                            <a:cubicBezTo>
                              <a:pt x="1080611" y="236791"/>
                              <a:pt x="1086993" y="159067"/>
                              <a:pt x="998125" y="120967"/>
                            </a:cubicBezTo>
                            <a:cubicBezTo>
                              <a:pt x="909257" y="82867"/>
                              <a:pt x="717423" y="3715"/>
                              <a:pt x="717423" y="3715"/>
                            </a:cubicBezTo>
                          </a:path>
                        </a:pathLst>
                      </a:custGeom>
                      <a:ln w="12700">
                        <a:solidFill>
                          <a:schemeClr val="bg1"/>
                        </a:solidFill>
                      </a:ln>
                    </p:spPr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endParaRPr lang="en-IN" dirty="0"/>
                      </a:p>
                    </p:txBody>
                  </p:sp>
                </p:grpSp>
              </p:grpSp>
              <p:sp>
                <p:nvSpPr>
                  <p:cNvPr id="105" name="Freeform: Shape 104">
                    <a:extLst>
                      <a:ext uri="{FF2B5EF4-FFF2-40B4-BE49-F238E27FC236}">
                        <a16:creationId xmlns:a16="http://schemas.microsoft.com/office/drawing/2014/main" id="{3671F3E2-785E-C907-8A98-2822A8E73CDE}"/>
                      </a:ext>
                    </a:extLst>
                  </p:cNvPr>
                  <p:cNvSpPr/>
                  <p:nvPr/>
                </p:nvSpPr>
                <p:spPr>
                  <a:xfrm>
                    <a:off x="4733829" y="2333434"/>
                    <a:ext cx="884110" cy="1274635"/>
                  </a:xfrm>
                  <a:custGeom>
                    <a:avLst/>
                    <a:gdLst>
                      <a:gd name="connsiteX0" fmla="*/ 0 w 884110"/>
                      <a:gd name="connsiteY0" fmla="*/ 1274636 h 1274635"/>
                      <a:gd name="connsiteX1" fmla="*/ 884111 w 884110"/>
                      <a:gd name="connsiteY1" fmla="*/ 0 h 12746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84110" h="1274635">
                        <a:moveTo>
                          <a:pt x="0" y="1274636"/>
                        </a:moveTo>
                        <a:cubicBezTo>
                          <a:pt x="0" y="690848"/>
                          <a:pt x="367665" y="192976"/>
                          <a:pt x="884111" y="0"/>
                        </a:cubicBezTo>
                      </a:path>
                    </a:pathLst>
                  </a:custGeom>
                  <a:ln w="12700">
                    <a:solidFill>
                      <a:schemeClr val="bg1"/>
                    </a:solidFill>
                  </a:ln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IN" dirty="0"/>
                  </a:p>
                </p:txBody>
              </p:sp>
              <p:sp>
                <p:nvSpPr>
                  <p:cNvPr id="106" name="Freeform: Shape 105">
                    <a:extLst>
                      <a:ext uri="{FF2B5EF4-FFF2-40B4-BE49-F238E27FC236}">
                        <a16:creationId xmlns:a16="http://schemas.microsoft.com/office/drawing/2014/main" id="{A4489F71-DE68-9125-EBA4-734197B2FEE5}"/>
                      </a:ext>
                    </a:extLst>
                  </p:cNvPr>
                  <p:cNvSpPr/>
                  <p:nvPr/>
                </p:nvSpPr>
                <p:spPr>
                  <a:xfrm>
                    <a:off x="6544722" y="2324195"/>
                    <a:ext cx="909732" cy="1283874"/>
                  </a:xfrm>
                  <a:custGeom>
                    <a:avLst/>
                    <a:gdLst>
                      <a:gd name="connsiteX0" fmla="*/ 0 w 909732"/>
                      <a:gd name="connsiteY0" fmla="*/ 0 h 1283874"/>
                      <a:gd name="connsiteX1" fmla="*/ 909733 w 909732"/>
                      <a:gd name="connsiteY1" fmla="*/ 1283875 h 1283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09732" h="1283874">
                        <a:moveTo>
                          <a:pt x="0" y="0"/>
                        </a:moveTo>
                        <a:cubicBezTo>
                          <a:pt x="529876" y="185928"/>
                          <a:pt x="909733" y="690562"/>
                          <a:pt x="909733" y="1283875"/>
                        </a:cubicBezTo>
                      </a:path>
                    </a:pathLst>
                  </a:custGeom>
                  <a:ln w="12700">
                    <a:solidFill>
                      <a:schemeClr val="bg1"/>
                    </a:solidFill>
                  </a:ln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IN" dirty="0"/>
                  </a:p>
                </p:txBody>
              </p:sp>
            </p:grpSp>
          </p:grp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CD260284-87F4-6773-66C4-80CC27DABB99}"/>
                </a:ext>
              </a:extLst>
            </p:cNvPr>
            <p:cNvGrpSpPr/>
            <p:nvPr/>
          </p:nvGrpSpPr>
          <p:grpSpPr>
            <a:xfrm>
              <a:off x="5762623" y="2586095"/>
              <a:ext cx="548640" cy="548640"/>
              <a:chOff x="5762623" y="2535871"/>
              <a:chExt cx="548640" cy="548640"/>
            </a:xfrm>
          </p:grpSpPr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3AF6FECA-4340-9184-A1D9-A855E84D5B76}"/>
                  </a:ext>
                </a:extLst>
              </p:cNvPr>
              <p:cNvSpPr/>
              <p:nvPr/>
            </p:nvSpPr>
            <p:spPr>
              <a:xfrm>
                <a:off x="5762623" y="2535871"/>
                <a:ext cx="548640" cy="5486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F42907A0-2B6A-77BA-1AFB-2D343790F32B}"/>
                  </a:ext>
                </a:extLst>
              </p:cNvPr>
              <p:cNvGrpSpPr/>
              <p:nvPr/>
            </p:nvGrpSpPr>
            <p:grpSpPr>
              <a:xfrm>
                <a:off x="5864820" y="2647950"/>
                <a:ext cx="344248" cy="343532"/>
                <a:chOff x="5886449" y="3224212"/>
                <a:chExt cx="414813" cy="413956"/>
              </a:xfrm>
            </p:grpSpPr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B2B738AF-2C76-A2C5-6516-A4075B753F99}"/>
                    </a:ext>
                  </a:extLst>
                </p:cNvPr>
                <p:cNvSpPr/>
                <p:nvPr/>
              </p:nvSpPr>
              <p:spPr>
                <a:xfrm>
                  <a:off x="5886449" y="3430714"/>
                  <a:ext cx="414813" cy="207454"/>
                </a:xfrm>
                <a:custGeom>
                  <a:avLst/>
                  <a:gdLst>
                    <a:gd name="connsiteX0" fmla="*/ 324422 w 414813"/>
                    <a:gd name="connsiteY0" fmla="*/ 0 h 207454"/>
                    <a:gd name="connsiteX1" fmla="*/ 324422 w 414813"/>
                    <a:gd name="connsiteY1" fmla="*/ 0 h 207454"/>
                    <a:gd name="connsiteX2" fmla="*/ 207455 w 414813"/>
                    <a:gd name="connsiteY2" fmla="*/ 117062 h 207454"/>
                    <a:gd name="connsiteX3" fmla="*/ 90488 w 414813"/>
                    <a:gd name="connsiteY3" fmla="*/ 95 h 207454"/>
                    <a:gd name="connsiteX4" fmla="*/ 90488 w 414813"/>
                    <a:gd name="connsiteY4" fmla="*/ 95 h 207454"/>
                    <a:gd name="connsiteX5" fmla="*/ 0 w 414813"/>
                    <a:gd name="connsiteY5" fmla="*/ 0 h 207454"/>
                    <a:gd name="connsiteX6" fmla="*/ 0 w 414813"/>
                    <a:gd name="connsiteY6" fmla="*/ 26479 h 207454"/>
                    <a:gd name="connsiteX7" fmla="*/ 7906 w 414813"/>
                    <a:gd name="connsiteY7" fmla="*/ 36100 h 207454"/>
                    <a:gd name="connsiteX8" fmla="*/ 36481 w 414813"/>
                    <a:gd name="connsiteY8" fmla="*/ 41719 h 207454"/>
                    <a:gd name="connsiteX9" fmla="*/ 57055 w 414813"/>
                    <a:gd name="connsiteY9" fmla="*/ 91345 h 207454"/>
                    <a:gd name="connsiteX10" fmla="*/ 40862 w 414813"/>
                    <a:gd name="connsiteY10" fmla="*/ 115538 h 207454"/>
                    <a:gd name="connsiteX11" fmla="*/ 42101 w 414813"/>
                    <a:gd name="connsiteY11" fmla="*/ 127921 h 207454"/>
                    <a:gd name="connsiteX12" fmla="*/ 79534 w 414813"/>
                    <a:gd name="connsiteY12" fmla="*/ 165354 h 207454"/>
                    <a:gd name="connsiteX13" fmla="*/ 91916 w 414813"/>
                    <a:gd name="connsiteY13" fmla="*/ 166592 h 207454"/>
                    <a:gd name="connsiteX14" fmla="*/ 116110 w 414813"/>
                    <a:gd name="connsiteY14" fmla="*/ 150400 h 207454"/>
                    <a:gd name="connsiteX15" fmla="*/ 165735 w 414813"/>
                    <a:gd name="connsiteY15" fmla="*/ 170974 h 207454"/>
                    <a:gd name="connsiteX16" fmla="*/ 171355 w 414813"/>
                    <a:gd name="connsiteY16" fmla="*/ 199549 h 207454"/>
                    <a:gd name="connsiteX17" fmla="*/ 180975 w 414813"/>
                    <a:gd name="connsiteY17" fmla="*/ 207454 h 207454"/>
                    <a:gd name="connsiteX18" fmla="*/ 233839 w 414813"/>
                    <a:gd name="connsiteY18" fmla="*/ 207454 h 207454"/>
                    <a:gd name="connsiteX19" fmla="*/ 243459 w 414813"/>
                    <a:gd name="connsiteY19" fmla="*/ 199549 h 207454"/>
                    <a:gd name="connsiteX20" fmla="*/ 249079 w 414813"/>
                    <a:gd name="connsiteY20" fmla="*/ 170974 h 207454"/>
                    <a:gd name="connsiteX21" fmla="*/ 298704 w 414813"/>
                    <a:gd name="connsiteY21" fmla="*/ 150400 h 207454"/>
                    <a:gd name="connsiteX22" fmla="*/ 322898 w 414813"/>
                    <a:gd name="connsiteY22" fmla="*/ 166592 h 207454"/>
                    <a:gd name="connsiteX23" fmla="*/ 335280 w 414813"/>
                    <a:gd name="connsiteY23" fmla="*/ 165354 h 207454"/>
                    <a:gd name="connsiteX24" fmla="*/ 372713 w 414813"/>
                    <a:gd name="connsiteY24" fmla="*/ 127921 h 207454"/>
                    <a:gd name="connsiteX25" fmla="*/ 373951 w 414813"/>
                    <a:gd name="connsiteY25" fmla="*/ 115538 h 207454"/>
                    <a:gd name="connsiteX26" fmla="*/ 357759 w 414813"/>
                    <a:gd name="connsiteY26" fmla="*/ 91345 h 207454"/>
                    <a:gd name="connsiteX27" fmla="*/ 378333 w 414813"/>
                    <a:gd name="connsiteY27" fmla="*/ 41719 h 207454"/>
                    <a:gd name="connsiteX28" fmla="*/ 406908 w 414813"/>
                    <a:gd name="connsiteY28" fmla="*/ 36100 h 207454"/>
                    <a:gd name="connsiteX29" fmla="*/ 414814 w 414813"/>
                    <a:gd name="connsiteY29" fmla="*/ 26479 h 207454"/>
                    <a:gd name="connsiteX30" fmla="*/ 414814 w 414813"/>
                    <a:gd name="connsiteY30" fmla="*/ 0 h 207454"/>
                    <a:gd name="connsiteX31" fmla="*/ 324326 w 414813"/>
                    <a:gd name="connsiteY31" fmla="*/ 0 h 207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414813" h="207454">
                      <a:moveTo>
                        <a:pt x="324422" y="0"/>
                      </a:moveTo>
                      <a:lnTo>
                        <a:pt x="324422" y="0"/>
                      </a:lnTo>
                      <a:cubicBezTo>
                        <a:pt x="324422" y="64675"/>
                        <a:pt x="272034" y="117062"/>
                        <a:pt x="207455" y="117062"/>
                      </a:cubicBezTo>
                      <a:cubicBezTo>
                        <a:pt x="142875" y="117062"/>
                        <a:pt x="90488" y="64675"/>
                        <a:pt x="90488" y="95"/>
                      </a:cubicBezTo>
                      <a:lnTo>
                        <a:pt x="90488" y="95"/>
                      </a:lnTo>
                      <a:cubicBezTo>
                        <a:pt x="90488" y="95"/>
                        <a:pt x="0" y="0"/>
                        <a:pt x="0" y="0"/>
                      </a:cubicBezTo>
                      <a:lnTo>
                        <a:pt x="0" y="26479"/>
                      </a:lnTo>
                      <a:cubicBezTo>
                        <a:pt x="0" y="31242"/>
                        <a:pt x="3238" y="35242"/>
                        <a:pt x="7906" y="36100"/>
                      </a:cubicBezTo>
                      <a:lnTo>
                        <a:pt x="36481" y="41719"/>
                      </a:lnTo>
                      <a:lnTo>
                        <a:pt x="57055" y="91345"/>
                      </a:lnTo>
                      <a:lnTo>
                        <a:pt x="40862" y="115538"/>
                      </a:lnTo>
                      <a:cubicBezTo>
                        <a:pt x="38195" y="119444"/>
                        <a:pt x="38767" y="124587"/>
                        <a:pt x="42101" y="127921"/>
                      </a:cubicBezTo>
                      <a:lnTo>
                        <a:pt x="79534" y="165354"/>
                      </a:lnTo>
                      <a:cubicBezTo>
                        <a:pt x="82868" y="168688"/>
                        <a:pt x="88011" y="169164"/>
                        <a:pt x="91916" y="166592"/>
                      </a:cubicBezTo>
                      <a:lnTo>
                        <a:pt x="116110" y="150400"/>
                      </a:lnTo>
                      <a:lnTo>
                        <a:pt x="165735" y="170974"/>
                      </a:lnTo>
                      <a:lnTo>
                        <a:pt x="171355" y="199549"/>
                      </a:lnTo>
                      <a:cubicBezTo>
                        <a:pt x="172307" y="204216"/>
                        <a:pt x="176213" y="207454"/>
                        <a:pt x="180975" y="207454"/>
                      </a:cubicBezTo>
                      <a:lnTo>
                        <a:pt x="233839" y="207454"/>
                      </a:lnTo>
                      <a:cubicBezTo>
                        <a:pt x="238601" y="207454"/>
                        <a:pt x="242602" y="204216"/>
                        <a:pt x="243459" y="199549"/>
                      </a:cubicBezTo>
                      <a:lnTo>
                        <a:pt x="249079" y="170974"/>
                      </a:lnTo>
                      <a:lnTo>
                        <a:pt x="298704" y="150400"/>
                      </a:lnTo>
                      <a:lnTo>
                        <a:pt x="322898" y="166592"/>
                      </a:lnTo>
                      <a:cubicBezTo>
                        <a:pt x="326803" y="169259"/>
                        <a:pt x="331946" y="168688"/>
                        <a:pt x="335280" y="165354"/>
                      </a:cubicBezTo>
                      <a:lnTo>
                        <a:pt x="372713" y="127921"/>
                      </a:lnTo>
                      <a:cubicBezTo>
                        <a:pt x="376047" y="124587"/>
                        <a:pt x="376523" y="119444"/>
                        <a:pt x="373951" y="115538"/>
                      </a:cubicBezTo>
                      <a:lnTo>
                        <a:pt x="357759" y="91345"/>
                      </a:lnTo>
                      <a:lnTo>
                        <a:pt x="378333" y="41719"/>
                      </a:lnTo>
                      <a:lnTo>
                        <a:pt x="406908" y="36100"/>
                      </a:lnTo>
                      <a:cubicBezTo>
                        <a:pt x="411575" y="35147"/>
                        <a:pt x="414814" y="31242"/>
                        <a:pt x="414814" y="26479"/>
                      </a:cubicBezTo>
                      <a:lnTo>
                        <a:pt x="414814" y="0"/>
                      </a:lnTo>
                      <a:lnTo>
                        <a:pt x="324326" y="0"/>
                      </a:lnTo>
                      <a:close/>
                    </a:path>
                  </a:pathLst>
                </a:custGeom>
                <a:ln w="12700">
                  <a:solidFill>
                    <a:schemeClr val="bg1"/>
                  </a:solidFill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91" name="Freeform: Shape 90">
                  <a:extLst>
                    <a:ext uri="{FF2B5EF4-FFF2-40B4-BE49-F238E27FC236}">
                      <a16:creationId xmlns:a16="http://schemas.microsoft.com/office/drawing/2014/main" id="{061C2BE1-C4CA-BA12-53B6-63434B132043}"/>
                    </a:ext>
                  </a:extLst>
                </p:cNvPr>
                <p:cNvSpPr/>
                <p:nvPr/>
              </p:nvSpPr>
              <p:spPr>
                <a:xfrm>
                  <a:off x="5898355" y="3309747"/>
                  <a:ext cx="55816" cy="108299"/>
                </a:xfrm>
                <a:custGeom>
                  <a:avLst/>
                  <a:gdLst>
                    <a:gd name="connsiteX0" fmla="*/ 0 w 55816"/>
                    <a:gd name="connsiteY0" fmla="*/ 0 h 108299"/>
                    <a:gd name="connsiteX1" fmla="*/ 55817 w 55816"/>
                    <a:gd name="connsiteY1" fmla="*/ 0 h 108299"/>
                    <a:gd name="connsiteX2" fmla="*/ 55817 w 55816"/>
                    <a:gd name="connsiteY2" fmla="*/ 108299 h 108299"/>
                    <a:gd name="connsiteX3" fmla="*/ 0 w 55816"/>
                    <a:gd name="connsiteY3" fmla="*/ 108299 h 10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816" h="108299">
                      <a:moveTo>
                        <a:pt x="0" y="0"/>
                      </a:moveTo>
                      <a:lnTo>
                        <a:pt x="55817" y="0"/>
                      </a:lnTo>
                      <a:lnTo>
                        <a:pt x="55817" y="108299"/>
                      </a:lnTo>
                      <a:lnTo>
                        <a:pt x="0" y="108299"/>
                      </a:lnTo>
                      <a:close/>
                    </a:path>
                  </a:pathLst>
                </a:custGeom>
                <a:ln w="12700">
                  <a:solidFill>
                    <a:schemeClr val="bg1"/>
                  </a:solidFill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92" name="Freeform: Shape 91">
                  <a:extLst>
                    <a:ext uri="{FF2B5EF4-FFF2-40B4-BE49-F238E27FC236}">
                      <a16:creationId xmlns:a16="http://schemas.microsoft.com/office/drawing/2014/main" id="{CDA79F98-EF7C-4A16-E6C3-4D5192FD25ED}"/>
                    </a:ext>
                  </a:extLst>
                </p:cNvPr>
                <p:cNvSpPr/>
                <p:nvPr/>
              </p:nvSpPr>
              <p:spPr>
                <a:xfrm>
                  <a:off x="5954172" y="3252216"/>
                  <a:ext cx="68484" cy="165830"/>
                </a:xfrm>
                <a:custGeom>
                  <a:avLst/>
                  <a:gdLst>
                    <a:gd name="connsiteX0" fmla="*/ 68485 w 68484"/>
                    <a:gd name="connsiteY0" fmla="*/ 165830 h 165830"/>
                    <a:gd name="connsiteX1" fmla="*/ 0 w 68484"/>
                    <a:gd name="connsiteY1" fmla="*/ 165830 h 165830"/>
                    <a:gd name="connsiteX2" fmla="*/ 0 w 68484"/>
                    <a:gd name="connsiteY2" fmla="*/ 24860 h 165830"/>
                    <a:gd name="connsiteX3" fmla="*/ 68485 w 68484"/>
                    <a:gd name="connsiteY3" fmla="*/ 0 h 165830"/>
                    <a:gd name="connsiteX4" fmla="*/ 68485 w 68484"/>
                    <a:gd name="connsiteY4" fmla="*/ 165830 h 165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8484" h="165830">
                      <a:moveTo>
                        <a:pt x="68485" y="165830"/>
                      </a:moveTo>
                      <a:lnTo>
                        <a:pt x="0" y="165830"/>
                      </a:lnTo>
                      <a:lnTo>
                        <a:pt x="0" y="24860"/>
                      </a:lnTo>
                      <a:lnTo>
                        <a:pt x="68485" y="0"/>
                      </a:lnTo>
                      <a:lnTo>
                        <a:pt x="68485" y="165830"/>
                      </a:lnTo>
                      <a:close/>
                    </a:path>
                  </a:pathLst>
                </a:custGeom>
                <a:ln w="12700">
                  <a:solidFill>
                    <a:schemeClr val="bg1"/>
                  </a:solidFill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93" name="Freeform: Shape 92">
                  <a:extLst>
                    <a:ext uri="{FF2B5EF4-FFF2-40B4-BE49-F238E27FC236}">
                      <a16:creationId xmlns:a16="http://schemas.microsoft.com/office/drawing/2014/main" id="{CB3B55D2-5A3C-EB47-BB68-3A035ECD4763}"/>
                    </a:ext>
                  </a:extLst>
                </p:cNvPr>
                <p:cNvSpPr/>
                <p:nvPr/>
              </p:nvSpPr>
              <p:spPr>
                <a:xfrm>
                  <a:off x="5978270" y="3317557"/>
                  <a:ext cx="20288" cy="60007"/>
                </a:xfrm>
                <a:custGeom>
                  <a:avLst/>
                  <a:gdLst>
                    <a:gd name="connsiteX0" fmla="*/ 0 w 20288"/>
                    <a:gd name="connsiteY0" fmla="*/ 0 h 60007"/>
                    <a:gd name="connsiteX1" fmla="*/ 20288 w 20288"/>
                    <a:gd name="connsiteY1" fmla="*/ 0 h 60007"/>
                    <a:gd name="connsiteX2" fmla="*/ 20288 w 20288"/>
                    <a:gd name="connsiteY2" fmla="*/ 60008 h 60007"/>
                    <a:gd name="connsiteX3" fmla="*/ 0 w 20288"/>
                    <a:gd name="connsiteY3" fmla="*/ 60008 h 600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288" h="60007">
                      <a:moveTo>
                        <a:pt x="0" y="0"/>
                      </a:moveTo>
                      <a:lnTo>
                        <a:pt x="20288" y="0"/>
                      </a:lnTo>
                      <a:lnTo>
                        <a:pt x="20288" y="60008"/>
                      </a:lnTo>
                      <a:lnTo>
                        <a:pt x="0" y="60008"/>
                      </a:lnTo>
                      <a:close/>
                    </a:path>
                  </a:pathLst>
                </a:custGeom>
                <a:ln w="12700">
                  <a:solidFill>
                    <a:schemeClr val="bg1"/>
                  </a:solidFill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94" name="Freeform: Shape 93">
                  <a:extLst>
                    <a:ext uri="{FF2B5EF4-FFF2-40B4-BE49-F238E27FC236}">
                      <a16:creationId xmlns:a16="http://schemas.microsoft.com/office/drawing/2014/main" id="{5BDC1984-B30D-D206-302D-6B5BF6F309E8}"/>
                    </a:ext>
                  </a:extLst>
                </p:cNvPr>
                <p:cNvSpPr/>
                <p:nvPr/>
              </p:nvSpPr>
              <p:spPr>
                <a:xfrm>
                  <a:off x="6233540" y="3309747"/>
                  <a:ext cx="55816" cy="108299"/>
                </a:xfrm>
                <a:custGeom>
                  <a:avLst/>
                  <a:gdLst>
                    <a:gd name="connsiteX0" fmla="*/ 0 w 55816"/>
                    <a:gd name="connsiteY0" fmla="*/ 0 h 108299"/>
                    <a:gd name="connsiteX1" fmla="*/ 55816 w 55816"/>
                    <a:gd name="connsiteY1" fmla="*/ 0 h 108299"/>
                    <a:gd name="connsiteX2" fmla="*/ 55816 w 55816"/>
                    <a:gd name="connsiteY2" fmla="*/ 108299 h 108299"/>
                    <a:gd name="connsiteX3" fmla="*/ 0 w 55816"/>
                    <a:gd name="connsiteY3" fmla="*/ 108299 h 10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816" h="108299">
                      <a:moveTo>
                        <a:pt x="0" y="0"/>
                      </a:moveTo>
                      <a:lnTo>
                        <a:pt x="55816" y="0"/>
                      </a:lnTo>
                      <a:lnTo>
                        <a:pt x="55816" y="108299"/>
                      </a:lnTo>
                      <a:lnTo>
                        <a:pt x="0" y="108299"/>
                      </a:lnTo>
                      <a:close/>
                    </a:path>
                  </a:pathLst>
                </a:custGeom>
                <a:ln w="12700">
                  <a:solidFill>
                    <a:schemeClr val="bg1"/>
                  </a:solidFill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95" name="Freeform: Shape 94">
                  <a:extLst>
                    <a:ext uri="{FF2B5EF4-FFF2-40B4-BE49-F238E27FC236}">
                      <a16:creationId xmlns:a16="http://schemas.microsoft.com/office/drawing/2014/main" id="{62623CDF-1FA6-764A-CF29-496110C9EE09}"/>
                    </a:ext>
                  </a:extLst>
                </p:cNvPr>
                <p:cNvSpPr/>
                <p:nvPr/>
              </p:nvSpPr>
              <p:spPr>
                <a:xfrm>
                  <a:off x="6165055" y="3252216"/>
                  <a:ext cx="68484" cy="165830"/>
                </a:xfrm>
                <a:custGeom>
                  <a:avLst/>
                  <a:gdLst>
                    <a:gd name="connsiteX0" fmla="*/ 0 w 68484"/>
                    <a:gd name="connsiteY0" fmla="*/ 165830 h 165830"/>
                    <a:gd name="connsiteX1" fmla="*/ 68485 w 68484"/>
                    <a:gd name="connsiteY1" fmla="*/ 165830 h 165830"/>
                    <a:gd name="connsiteX2" fmla="*/ 68485 w 68484"/>
                    <a:gd name="connsiteY2" fmla="*/ 24860 h 165830"/>
                    <a:gd name="connsiteX3" fmla="*/ 0 w 68484"/>
                    <a:gd name="connsiteY3" fmla="*/ 0 h 165830"/>
                    <a:gd name="connsiteX4" fmla="*/ 0 w 68484"/>
                    <a:gd name="connsiteY4" fmla="*/ 165830 h 165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8484" h="165830">
                      <a:moveTo>
                        <a:pt x="0" y="165830"/>
                      </a:moveTo>
                      <a:lnTo>
                        <a:pt x="68485" y="165830"/>
                      </a:lnTo>
                      <a:lnTo>
                        <a:pt x="68485" y="24860"/>
                      </a:lnTo>
                      <a:lnTo>
                        <a:pt x="0" y="0"/>
                      </a:lnTo>
                      <a:lnTo>
                        <a:pt x="0" y="165830"/>
                      </a:lnTo>
                      <a:close/>
                    </a:path>
                  </a:pathLst>
                </a:custGeom>
                <a:ln w="12700">
                  <a:solidFill>
                    <a:schemeClr val="bg1"/>
                  </a:solidFill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96" name="Freeform: Shape 95">
                  <a:extLst>
                    <a:ext uri="{FF2B5EF4-FFF2-40B4-BE49-F238E27FC236}">
                      <a16:creationId xmlns:a16="http://schemas.microsoft.com/office/drawing/2014/main" id="{A040967C-C686-B1AD-C626-33267219B334}"/>
                    </a:ext>
                  </a:extLst>
                </p:cNvPr>
                <p:cNvSpPr/>
                <p:nvPr/>
              </p:nvSpPr>
              <p:spPr>
                <a:xfrm>
                  <a:off x="6189154" y="3317557"/>
                  <a:ext cx="20288" cy="60007"/>
                </a:xfrm>
                <a:custGeom>
                  <a:avLst/>
                  <a:gdLst>
                    <a:gd name="connsiteX0" fmla="*/ 0 w 20288"/>
                    <a:gd name="connsiteY0" fmla="*/ 0 h 60007"/>
                    <a:gd name="connsiteX1" fmla="*/ 20288 w 20288"/>
                    <a:gd name="connsiteY1" fmla="*/ 0 h 60007"/>
                    <a:gd name="connsiteX2" fmla="*/ 20288 w 20288"/>
                    <a:gd name="connsiteY2" fmla="*/ 60008 h 60007"/>
                    <a:gd name="connsiteX3" fmla="*/ 0 w 20288"/>
                    <a:gd name="connsiteY3" fmla="*/ 60008 h 600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288" h="60007">
                      <a:moveTo>
                        <a:pt x="0" y="0"/>
                      </a:moveTo>
                      <a:lnTo>
                        <a:pt x="20288" y="0"/>
                      </a:lnTo>
                      <a:lnTo>
                        <a:pt x="20288" y="60008"/>
                      </a:lnTo>
                      <a:lnTo>
                        <a:pt x="0" y="60008"/>
                      </a:lnTo>
                      <a:close/>
                    </a:path>
                  </a:pathLst>
                </a:custGeom>
                <a:ln w="12700">
                  <a:solidFill>
                    <a:schemeClr val="bg1"/>
                  </a:solidFill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97" name="Freeform: Shape 96">
                  <a:extLst>
                    <a:ext uri="{FF2B5EF4-FFF2-40B4-BE49-F238E27FC236}">
                      <a16:creationId xmlns:a16="http://schemas.microsoft.com/office/drawing/2014/main" id="{58276106-A574-062F-4E64-686326B58051}"/>
                    </a:ext>
                  </a:extLst>
                </p:cNvPr>
                <p:cNvSpPr/>
                <p:nvPr/>
              </p:nvSpPr>
              <p:spPr>
                <a:xfrm>
                  <a:off x="6022657" y="3224212"/>
                  <a:ext cx="142398" cy="193833"/>
                </a:xfrm>
                <a:custGeom>
                  <a:avLst/>
                  <a:gdLst>
                    <a:gd name="connsiteX0" fmla="*/ 103156 w 142398"/>
                    <a:gd name="connsiteY0" fmla="*/ 193834 h 193833"/>
                    <a:gd name="connsiteX1" fmla="*/ 0 w 142398"/>
                    <a:gd name="connsiteY1" fmla="*/ 193834 h 193833"/>
                    <a:gd name="connsiteX2" fmla="*/ 0 w 142398"/>
                    <a:gd name="connsiteY2" fmla="*/ 0 h 193833"/>
                    <a:gd name="connsiteX3" fmla="*/ 142399 w 142398"/>
                    <a:gd name="connsiteY3" fmla="*/ 0 h 193833"/>
                    <a:gd name="connsiteX4" fmla="*/ 142399 w 142398"/>
                    <a:gd name="connsiteY4" fmla="*/ 193739 h 193833"/>
                    <a:gd name="connsiteX5" fmla="*/ 103156 w 142398"/>
                    <a:gd name="connsiteY5" fmla="*/ 193739 h 193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2398" h="193833">
                      <a:moveTo>
                        <a:pt x="103156" y="193834"/>
                      </a:moveTo>
                      <a:lnTo>
                        <a:pt x="0" y="193834"/>
                      </a:lnTo>
                      <a:lnTo>
                        <a:pt x="0" y="0"/>
                      </a:lnTo>
                      <a:lnTo>
                        <a:pt x="142399" y="0"/>
                      </a:lnTo>
                      <a:lnTo>
                        <a:pt x="142399" y="193739"/>
                      </a:lnTo>
                      <a:lnTo>
                        <a:pt x="103156" y="193739"/>
                      </a:lnTo>
                    </a:path>
                  </a:pathLst>
                </a:custGeom>
                <a:ln w="12700">
                  <a:solidFill>
                    <a:schemeClr val="bg1"/>
                  </a:solidFill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98" name="Freeform: Shape 97">
                  <a:extLst>
                    <a:ext uri="{FF2B5EF4-FFF2-40B4-BE49-F238E27FC236}">
                      <a16:creationId xmlns:a16="http://schemas.microsoft.com/office/drawing/2014/main" id="{7765229B-7247-732A-29BF-4EA6B2E3F676}"/>
                    </a:ext>
                  </a:extLst>
                </p:cNvPr>
                <p:cNvSpPr/>
                <p:nvPr/>
              </p:nvSpPr>
              <p:spPr>
                <a:xfrm>
                  <a:off x="6063424" y="3254597"/>
                  <a:ext cx="60864" cy="25431"/>
                </a:xfrm>
                <a:custGeom>
                  <a:avLst/>
                  <a:gdLst>
                    <a:gd name="connsiteX0" fmla="*/ 0 w 60864"/>
                    <a:gd name="connsiteY0" fmla="*/ 0 h 25431"/>
                    <a:gd name="connsiteX1" fmla="*/ 60865 w 60864"/>
                    <a:gd name="connsiteY1" fmla="*/ 0 h 25431"/>
                    <a:gd name="connsiteX2" fmla="*/ 60865 w 60864"/>
                    <a:gd name="connsiteY2" fmla="*/ 25432 h 25431"/>
                    <a:gd name="connsiteX3" fmla="*/ 0 w 60864"/>
                    <a:gd name="connsiteY3" fmla="*/ 25432 h 25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864" h="25431">
                      <a:moveTo>
                        <a:pt x="0" y="0"/>
                      </a:moveTo>
                      <a:lnTo>
                        <a:pt x="60865" y="0"/>
                      </a:lnTo>
                      <a:lnTo>
                        <a:pt x="60865" y="25432"/>
                      </a:lnTo>
                      <a:lnTo>
                        <a:pt x="0" y="25432"/>
                      </a:lnTo>
                      <a:close/>
                    </a:path>
                  </a:pathLst>
                </a:custGeom>
                <a:ln w="12700">
                  <a:solidFill>
                    <a:schemeClr val="bg1"/>
                  </a:solidFill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99" name="Freeform: Shape 98">
                  <a:extLst>
                    <a:ext uri="{FF2B5EF4-FFF2-40B4-BE49-F238E27FC236}">
                      <a16:creationId xmlns:a16="http://schemas.microsoft.com/office/drawing/2014/main" id="{B82F6CD2-FF97-F64B-50DB-119F821AE021}"/>
                    </a:ext>
                  </a:extLst>
                </p:cNvPr>
                <p:cNvSpPr/>
                <p:nvPr/>
              </p:nvSpPr>
              <p:spPr>
                <a:xfrm>
                  <a:off x="6074568" y="3348228"/>
                  <a:ext cx="38481" cy="69818"/>
                </a:xfrm>
                <a:custGeom>
                  <a:avLst/>
                  <a:gdLst>
                    <a:gd name="connsiteX0" fmla="*/ 38481 w 38481"/>
                    <a:gd name="connsiteY0" fmla="*/ 69818 h 69818"/>
                    <a:gd name="connsiteX1" fmla="*/ 38481 w 38481"/>
                    <a:gd name="connsiteY1" fmla="*/ 4953 h 69818"/>
                    <a:gd name="connsiteX2" fmla="*/ 33528 w 38481"/>
                    <a:gd name="connsiteY2" fmla="*/ 0 h 69818"/>
                    <a:gd name="connsiteX3" fmla="*/ 4953 w 38481"/>
                    <a:gd name="connsiteY3" fmla="*/ 0 h 69818"/>
                    <a:gd name="connsiteX4" fmla="*/ 4953 w 38481"/>
                    <a:gd name="connsiteY4" fmla="*/ 0 h 69818"/>
                    <a:gd name="connsiteX5" fmla="*/ 0 w 38481"/>
                    <a:gd name="connsiteY5" fmla="*/ 4953 h 69818"/>
                    <a:gd name="connsiteX6" fmla="*/ 0 w 38481"/>
                    <a:gd name="connsiteY6" fmla="*/ 69818 h 69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481" h="69818">
                      <a:moveTo>
                        <a:pt x="38481" y="69818"/>
                      </a:moveTo>
                      <a:lnTo>
                        <a:pt x="38481" y="4953"/>
                      </a:lnTo>
                      <a:cubicBezTo>
                        <a:pt x="38481" y="2191"/>
                        <a:pt x="36290" y="0"/>
                        <a:pt x="33528" y="0"/>
                      </a:cubicBezTo>
                      <a:lnTo>
                        <a:pt x="4953" y="0"/>
                      </a:lnTo>
                      <a:lnTo>
                        <a:pt x="4953" y="0"/>
                      </a:lnTo>
                      <a:cubicBezTo>
                        <a:pt x="2191" y="0"/>
                        <a:pt x="0" y="2191"/>
                        <a:pt x="0" y="4953"/>
                      </a:cubicBezTo>
                      <a:lnTo>
                        <a:pt x="0" y="69818"/>
                      </a:lnTo>
                    </a:path>
                  </a:pathLst>
                </a:custGeom>
                <a:ln w="12700">
                  <a:solidFill>
                    <a:schemeClr val="bg1"/>
                  </a:solidFill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</p:grpSp>
        </p:grpSp>
      </p:grpSp>
      <p:sp>
        <p:nvSpPr>
          <p:cNvPr id="141" name="Title 9">
            <a:extLst>
              <a:ext uri="{FF2B5EF4-FFF2-40B4-BE49-F238E27FC236}">
                <a16:creationId xmlns:a16="http://schemas.microsoft.com/office/drawing/2014/main" id="{D217AF09-C7D1-A6C6-AE6C-2288BB949CA8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spc="-50" dirty="0"/>
              <a:t>National capacity infrastructure to deliver sustainable impact</a:t>
            </a:r>
            <a:endParaRPr lang="en-GB" sz="2400" spc="-50" dirty="0"/>
          </a:p>
        </p:txBody>
      </p:sp>
    </p:spTree>
    <p:extLst>
      <p:ext uri="{BB962C8B-B14F-4D97-AF65-F5344CB8AC3E}">
        <p14:creationId xmlns:p14="http://schemas.microsoft.com/office/powerpoint/2010/main" val="3799729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105B5-6D9F-FDC4-9435-DFE4AB7D2E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AAD7A4-DE82-DFE0-E3EA-9119A6EC1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fld id="{A134C65A-A9BE-9F48-B07C-F2CA02A2F7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2A6E2E1F-38D8-032E-2F9D-AF3C53F52633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Current state of play</a:t>
            </a:r>
            <a:endParaRPr lang="en-GB" sz="2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D7FA323-1B98-8748-190E-043AE9AB5015}"/>
              </a:ext>
            </a:extLst>
          </p:cNvPr>
          <p:cNvSpPr/>
          <p:nvPr/>
        </p:nvSpPr>
        <p:spPr>
          <a:xfrm>
            <a:off x="2298034" y="1478127"/>
            <a:ext cx="4609023" cy="2973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80% of the effort is curating data</a:t>
            </a:r>
          </a:p>
          <a:p>
            <a:endParaRPr lang="en-GB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ffective curation is not a solitary task but a collaborative effort that spans multiple teams and disciplines and it “</a:t>
            </a:r>
            <a:r>
              <a:rPr lang="en-US" b="1" i="1"/>
              <a:t>can be done well or badly, and there is often substantial reasonable disagreement on the best way to do it”.</a:t>
            </a:r>
            <a:endParaRPr lang="en-US" b="1" i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350D407-8356-6719-727B-D0C9C8553110}"/>
              </a:ext>
            </a:extLst>
          </p:cNvPr>
          <p:cNvSpPr txBox="1"/>
          <p:nvPr/>
        </p:nvSpPr>
        <p:spPr>
          <a:xfrm>
            <a:off x="2489200" y="1672306"/>
            <a:ext cx="4452997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80% of the effort is curating data</a:t>
            </a:r>
          </a:p>
          <a:p>
            <a:endParaRPr lang="en-GB" dirty="0">
              <a:solidFill>
                <a:schemeClr val="tx2"/>
              </a:solidFill>
            </a:endParaRPr>
          </a:p>
          <a:p>
            <a:r>
              <a:rPr lang="en-US" dirty="0">
                <a:solidFill>
                  <a:schemeClr val="tx2"/>
                </a:solidFill>
              </a:rPr>
              <a:t>Effective curation is not a solitary task but a collaborative effort that spans multiple teams and disciplines and …</a:t>
            </a: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b="1" i="1" dirty="0">
                <a:solidFill>
                  <a:schemeClr val="tx2"/>
                </a:solidFill>
              </a:rPr>
              <a:t>“It can be done well or badly, and there is often substantial reasonable disagreement on the best way to do it”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2892991-7A39-C402-CDD2-A6E999D8761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466" t="12057" r="36489"/>
          <a:stretch/>
        </p:blipFill>
        <p:spPr>
          <a:xfrm>
            <a:off x="6767572" y="3303104"/>
            <a:ext cx="4161182" cy="3554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9801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9ED7BF-4126-F62D-AC9C-60D8DF976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fld id="{A134C65A-A9BE-9F48-B07C-F2CA02A2F7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72BC59CF-22A4-A018-B7F3-2673CD261098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The backdrop</a:t>
            </a:r>
            <a:endParaRPr lang="en-GB" sz="2400" dirty="0"/>
          </a:p>
        </p:txBody>
      </p:sp>
      <p:pic>
        <p:nvPicPr>
          <p:cNvPr id="25" name="Picture 2" descr="Quantifying the UK Data Skills Gap - Full report - GOV.UK">
            <a:extLst>
              <a:ext uri="{FF2B5EF4-FFF2-40B4-BE49-F238E27FC236}">
                <a16:creationId xmlns:a16="http://schemas.microsoft.com/office/drawing/2014/main" id="{EB9ADA35-F515-6FC3-2DDC-C642047661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82" b="27394"/>
          <a:stretch/>
        </p:blipFill>
        <p:spPr bwMode="auto">
          <a:xfrm>
            <a:off x="2267188" y="1651000"/>
            <a:ext cx="5051711" cy="1655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70A748C-A4E9-051E-630D-54AA2DD4BAA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750" t="24735" r="32780" b="47487"/>
          <a:stretch/>
        </p:blipFill>
        <p:spPr>
          <a:xfrm>
            <a:off x="2368072" y="3614001"/>
            <a:ext cx="4760001" cy="1375406"/>
          </a:xfrm>
          <a:prstGeom prst="rect">
            <a:avLst/>
          </a:prstGeom>
        </p:spPr>
      </p:pic>
      <p:pic>
        <p:nvPicPr>
          <p:cNvPr id="31" name="Picture 14" descr="Research Excellence Framework (the REF) - Symplectic">
            <a:extLst>
              <a:ext uri="{FF2B5EF4-FFF2-40B4-BE49-F238E27FC236}">
                <a16:creationId xmlns:a16="http://schemas.microsoft.com/office/drawing/2014/main" id="{8F844540-C15A-6E64-58AD-B22D200BCC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072" y="5296460"/>
            <a:ext cx="2087222" cy="1312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C355C6F-9581-2E8A-67E6-89519C85AE2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1907" t="50000" r="32500" b="12530"/>
          <a:stretch>
            <a:fillRect/>
          </a:stretch>
        </p:blipFill>
        <p:spPr>
          <a:xfrm>
            <a:off x="7654165" y="2552505"/>
            <a:ext cx="4339525" cy="2398363"/>
          </a:xfrm>
          <a:prstGeom prst="rect">
            <a:avLst/>
          </a:prstGeom>
        </p:spPr>
      </p:pic>
      <p:pic>
        <p:nvPicPr>
          <p:cNvPr id="1026" name="Picture 2" descr="Sensitive Data Research Infrastructure ...">
            <a:extLst>
              <a:ext uri="{FF2B5EF4-FFF2-40B4-BE49-F238E27FC236}">
                <a16:creationId xmlns:a16="http://schemas.microsoft.com/office/drawing/2014/main" id="{D792985D-6843-C949-ABC5-117FE519E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2809" y="4521423"/>
            <a:ext cx="1350881" cy="1908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73783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C36BC-A323-D338-71A8-2503F1695A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16DB6B-C6D6-10BF-80BD-943C09A9FDD0}"/>
              </a:ext>
            </a:extLst>
          </p:cNvPr>
          <p:cNvSpPr/>
          <p:nvPr/>
        </p:nvSpPr>
        <p:spPr>
          <a:xfrm>
            <a:off x="2489200" y="5507831"/>
            <a:ext cx="9223375" cy="660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99DFE0-0CF6-FFF9-6AB0-49F4EE4B1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fld id="{A134C65A-A9BE-9F48-B07C-F2CA02A2F7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17CF71C2-FC8D-092B-2AE3-EE737D321BA6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Evidence-led curation skills for sensitive data</a:t>
            </a:r>
            <a:endParaRPr lang="en-GB" sz="2400" dirty="0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3FF7F60A-BD77-5B89-D3BF-97373601B902}"/>
              </a:ext>
            </a:extLst>
          </p:cNvPr>
          <p:cNvGrpSpPr/>
          <p:nvPr/>
        </p:nvGrpSpPr>
        <p:grpSpPr>
          <a:xfrm>
            <a:off x="2489200" y="1520824"/>
            <a:ext cx="4747736" cy="3927476"/>
            <a:chOff x="839788" y="1520824"/>
            <a:chExt cx="4747736" cy="3927476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9507E1AA-9888-8CFB-59BD-C438B2D030F6}"/>
                </a:ext>
              </a:extLst>
            </p:cNvPr>
            <p:cNvSpPr/>
            <p:nvPr/>
          </p:nvSpPr>
          <p:spPr>
            <a:xfrm>
              <a:off x="839789" y="2543724"/>
              <a:ext cx="1541349" cy="244874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70000">
                  <a:schemeClr val="tx1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IN" sz="1200" b="1" dirty="0"/>
                <a:t>Hollydawn Murray</a:t>
              </a:r>
            </a:p>
          </p:txBody>
        </p:sp>
        <p:pic>
          <p:nvPicPr>
            <p:cNvPr id="76" name="Picture 14" descr="Hollydawn Murray profile">
              <a:extLst>
                <a:ext uri="{FF2B5EF4-FFF2-40B4-BE49-F238E27FC236}">
                  <a16:creationId xmlns:a16="http://schemas.microsoft.com/office/drawing/2014/main" id="{20A9EBF0-197C-4191-F0D5-280E5D71B5C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25" b="34788"/>
            <a:stretch>
              <a:fillRect/>
            </a:stretch>
          </p:blipFill>
          <p:spPr bwMode="auto">
            <a:xfrm>
              <a:off x="839789" y="1520824"/>
              <a:ext cx="1541349" cy="1022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B9EFB2B3-412E-F5A7-D0C1-F6CA5CB346C0}"/>
                </a:ext>
              </a:extLst>
            </p:cNvPr>
            <p:cNvSpPr/>
            <p:nvPr/>
          </p:nvSpPr>
          <p:spPr>
            <a:xfrm>
              <a:off x="4046175" y="2543724"/>
              <a:ext cx="1541349" cy="244874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70000">
                  <a:schemeClr val="tx1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IN" sz="1200" b="1" dirty="0"/>
                <a:t>Sarah Cadman</a:t>
              </a:r>
            </a:p>
          </p:txBody>
        </p:sp>
        <p:pic>
          <p:nvPicPr>
            <p:cNvPr id="78" name="Picture 8">
              <a:extLst>
                <a:ext uri="{FF2B5EF4-FFF2-40B4-BE49-F238E27FC236}">
                  <a16:creationId xmlns:a16="http://schemas.microsoft.com/office/drawing/2014/main" id="{6D66E67C-D3CB-6246-08A8-958C64B5690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/>
            <a:srcRect t="10717" b="24797"/>
            <a:stretch>
              <a:fillRect/>
            </a:stretch>
          </p:blipFill>
          <p:spPr bwMode="auto">
            <a:xfrm>
              <a:off x="4046175" y="1520824"/>
              <a:ext cx="1541348" cy="1022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75C4069D-ACED-E70F-17AA-9D5BC95A9273}"/>
                </a:ext>
              </a:extLst>
            </p:cNvPr>
            <p:cNvSpPr/>
            <p:nvPr/>
          </p:nvSpPr>
          <p:spPr>
            <a:xfrm>
              <a:off x="839789" y="3873574"/>
              <a:ext cx="1541349" cy="244874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70000">
                  <a:schemeClr val="tx1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IN" sz="1200" b="1" dirty="0"/>
                <a:t>Susmita Datta</a:t>
              </a:r>
            </a:p>
          </p:txBody>
        </p:sp>
        <p:pic>
          <p:nvPicPr>
            <p:cNvPr id="80" name="Picture 2">
              <a:extLst>
                <a:ext uri="{FF2B5EF4-FFF2-40B4-BE49-F238E27FC236}">
                  <a16:creationId xmlns:a16="http://schemas.microsoft.com/office/drawing/2014/main" id="{F37FD34A-000D-00AA-E9BE-B79897CBDCE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/>
            <a:srcRect t="8669" b="25363"/>
            <a:stretch>
              <a:fillRect/>
            </a:stretch>
          </p:blipFill>
          <p:spPr bwMode="auto">
            <a:xfrm>
              <a:off x="839789" y="2850674"/>
              <a:ext cx="1541349" cy="1022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45B1CE1D-4D0A-662C-FFE5-5FA3EF88BB82}"/>
                </a:ext>
              </a:extLst>
            </p:cNvPr>
            <p:cNvSpPr/>
            <p:nvPr/>
          </p:nvSpPr>
          <p:spPr>
            <a:xfrm>
              <a:off x="4046176" y="3873574"/>
              <a:ext cx="1541348" cy="244874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70000">
                  <a:schemeClr val="tx1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IN" sz="1200" b="1" dirty="0"/>
                <a:t>Simon Hettrick</a:t>
              </a:r>
            </a:p>
          </p:txBody>
        </p:sp>
        <p:pic>
          <p:nvPicPr>
            <p:cNvPr id="82" name="Picture 12">
              <a:extLst>
                <a:ext uri="{FF2B5EF4-FFF2-40B4-BE49-F238E27FC236}">
                  <a16:creationId xmlns:a16="http://schemas.microsoft.com/office/drawing/2014/main" id="{C769F4E8-86A5-4864-3A52-2DD24920858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/>
            <a:srcRect t="8575" b="23535"/>
            <a:stretch>
              <a:fillRect/>
            </a:stretch>
          </p:blipFill>
          <p:spPr bwMode="auto">
            <a:xfrm>
              <a:off x="4046175" y="2850674"/>
              <a:ext cx="1541346" cy="1022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2CBDCE2F-8128-38E1-7199-0CAD379FD71C}"/>
                </a:ext>
              </a:extLst>
            </p:cNvPr>
            <p:cNvSpPr/>
            <p:nvPr/>
          </p:nvSpPr>
          <p:spPr>
            <a:xfrm>
              <a:off x="2442982" y="2543724"/>
              <a:ext cx="1541349" cy="244874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70000">
                  <a:schemeClr val="tx1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IN" sz="1200" b="1" dirty="0"/>
                <a:t>Brittany Blankenship</a:t>
              </a:r>
            </a:p>
          </p:txBody>
        </p:sp>
        <p:pic>
          <p:nvPicPr>
            <p:cNvPr id="84" name="Picture 4">
              <a:extLst>
                <a:ext uri="{FF2B5EF4-FFF2-40B4-BE49-F238E27FC236}">
                  <a16:creationId xmlns:a16="http://schemas.microsoft.com/office/drawing/2014/main" id="{880C8927-BD2A-AC8E-42F0-94A8F9E295A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/>
            <a:srcRect t="7096" b="28418"/>
            <a:stretch>
              <a:fillRect/>
            </a:stretch>
          </p:blipFill>
          <p:spPr bwMode="auto">
            <a:xfrm>
              <a:off x="2442982" y="1520824"/>
              <a:ext cx="1541349" cy="1022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0CC845E8-DC39-CE66-A0E2-2FC58D74FFEE}"/>
                </a:ext>
              </a:extLst>
            </p:cNvPr>
            <p:cNvSpPr/>
            <p:nvPr/>
          </p:nvSpPr>
          <p:spPr>
            <a:xfrm>
              <a:off x="2442982" y="3873574"/>
              <a:ext cx="1541349" cy="244874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70000">
                  <a:schemeClr val="tx1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IN" sz="1200" b="1" dirty="0"/>
                <a:t>Magalie Guinard-Duff</a:t>
              </a:r>
            </a:p>
          </p:txBody>
        </p:sp>
        <p:pic>
          <p:nvPicPr>
            <p:cNvPr id="86" name="Picture 6">
              <a:extLst>
                <a:ext uri="{FF2B5EF4-FFF2-40B4-BE49-F238E27FC236}">
                  <a16:creationId xmlns:a16="http://schemas.microsoft.com/office/drawing/2014/main" id="{53E71A07-4EF1-AF7F-0A0F-0C0BE47BA6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/>
            <a:srcRect t="16818" b="16818"/>
            <a:stretch>
              <a:fillRect/>
            </a:stretch>
          </p:blipFill>
          <p:spPr bwMode="auto">
            <a:xfrm>
              <a:off x="2442982" y="2850674"/>
              <a:ext cx="1541349" cy="1022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2E99FECA-C4C2-E074-F107-C8124F0A069E}"/>
                </a:ext>
              </a:extLst>
            </p:cNvPr>
            <p:cNvSpPr/>
            <p:nvPr/>
          </p:nvSpPr>
          <p:spPr>
            <a:xfrm>
              <a:off x="839789" y="5203426"/>
              <a:ext cx="1541348" cy="244874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70000">
                  <a:schemeClr val="tx1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IN" sz="1200" b="1" dirty="0"/>
                <a:t>Leigh Tate</a:t>
              </a:r>
            </a:p>
          </p:txBody>
        </p:sp>
        <p:pic>
          <p:nvPicPr>
            <p:cNvPr id="88" name="Picture 2">
              <a:extLst>
                <a:ext uri="{FF2B5EF4-FFF2-40B4-BE49-F238E27FC236}">
                  <a16:creationId xmlns:a16="http://schemas.microsoft.com/office/drawing/2014/main" id="{A77E1DA4-5E43-D73D-E89B-7AF5F96E347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/>
            <a:srcRect t="6344" b="27688"/>
            <a:stretch>
              <a:fillRect/>
            </a:stretch>
          </p:blipFill>
          <p:spPr bwMode="auto">
            <a:xfrm>
              <a:off x="839788" y="4180526"/>
              <a:ext cx="1541348" cy="1022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EE704208-DC7E-160D-E72C-15F71A9DFDA6}"/>
                </a:ext>
              </a:extLst>
            </p:cNvPr>
            <p:cNvSpPr/>
            <p:nvPr/>
          </p:nvSpPr>
          <p:spPr>
            <a:xfrm>
              <a:off x="2442982" y="5203426"/>
              <a:ext cx="1541349" cy="244874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70000">
                  <a:schemeClr val="tx1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IN" sz="1200" b="1" dirty="0"/>
                <a:t>Ben Thomas</a:t>
              </a:r>
            </a:p>
          </p:txBody>
        </p:sp>
        <p:pic>
          <p:nvPicPr>
            <p:cNvPr id="90" name="Picture 6">
              <a:extLst>
                <a:ext uri="{FF2B5EF4-FFF2-40B4-BE49-F238E27FC236}">
                  <a16:creationId xmlns:a16="http://schemas.microsoft.com/office/drawing/2014/main" id="{E22F583E-2C52-BFD2-E821-8E12431D7DE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/>
            <a:srcRect t="6344" b="27688"/>
            <a:stretch>
              <a:fillRect/>
            </a:stretch>
          </p:blipFill>
          <p:spPr bwMode="auto">
            <a:xfrm>
              <a:off x="2442982" y="4180526"/>
              <a:ext cx="1541348" cy="1022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91CBE75-D347-CC54-444B-8B77506CDAFE}"/>
              </a:ext>
            </a:extLst>
          </p:cNvPr>
          <p:cNvSpPr/>
          <p:nvPr/>
        </p:nvSpPr>
        <p:spPr>
          <a:xfrm>
            <a:off x="7298776" y="1520824"/>
            <a:ext cx="4416973" cy="392747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0000">
                <a:schemeClr val="tx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/>
          </a:p>
        </p:txBody>
      </p:sp>
      <p:pic>
        <p:nvPicPr>
          <p:cNvPr id="6" name="Google Shape;95;p1" descr="Software Sustainability Institute">
            <a:extLst>
              <a:ext uri="{FF2B5EF4-FFF2-40B4-BE49-F238E27FC236}">
                <a16:creationId xmlns:a16="http://schemas.microsoft.com/office/drawing/2014/main" id="{C6A22BEC-273A-BD00-76E4-FCCC96243BD8}"/>
              </a:ext>
            </a:extLst>
          </p:cNvPr>
          <p:cNvPicPr preferRelativeResize="0"/>
          <p:nvPr/>
        </p:nvPicPr>
        <p:blipFill rotWithShape="1">
          <a:blip r:embed="rId11"/>
          <a:srcRect/>
          <a:stretch>
            <a:fillRect/>
          </a:stretch>
        </p:blipFill>
        <p:spPr>
          <a:xfrm>
            <a:off x="2716609" y="5665477"/>
            <a:ext cx="1082316" cy="345362"/>
          </a:xfrm>
          <a:prstGeom prst="rect">
            <a:avLst/>
          </a:prstGeom>
        </p:spPr>
      </p:pic>
      <p:pic>
        <p:nvPicPr>
          <p:cNvPr id="7" name="Google Shape;96;p1" descr="Dataloch - HDR UK">
            <a:extLst>
              <a:ext uri="{FF2B5EF4-FFF2-40B4-BE49-F238E27FC236}">
                <a16:creationId xmlns:a16="http://schemas.microsoft.com/office/drawing/2014/main" id="{12159E8B-0E1F-0C8D-606F-F7B233BA42D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20923" b="24655"/>
          <a:stretch>
            <a:fillRect/>
          </a:stretch>
        </p:blipFill>
        <p:spPr>
          <a:xfrm>
            <a:off x="4441435" y="5664854"/>
            <a:ext cx="1430870" cy="346608"/>
          </a:xfrm>
          <a:prstGeom prst="rect">
            <a:avLst/>
          </a:prstGeom>
        </p:spPr>
      </p:pic>
      <p:pic>
        <p:nvPicPr>
          <p:cNvPr id="8" name="Google Shape;97;p1" descr="Digital Bricks - Digital Education ...">
            <a:extLst>
              <a:ext uri="{FF2B5EF4-FFF2-40B4-BE49-F238E27FC236}">
                <a16:creationId xmlns:a16="http://schemas.microsoft.com/office/drawing/2014/main" id="{6F5C6EC2-54AF-B75E-087B-2848F3782F80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11842" b="11842"/>
          <a:stretch>
            <a:fillRect/>
          </a:stretch>
        </p:blipFill>
        <p:spPr>
          <a:xfrm>
            <a:off x="6514815" y="5684508"/>
            <a:ext cx="879506" cy="3073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8F1E82C-77A5-B4E5-7BF8-89EB04DED796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83" b="283"/>
          <a:stretch>
            <a:fillRect/>
          </a:stretch>
        </p:blipFill>
        <p:spPr>
          <a:xfrm>
            <a:off x="8036831" y="5679956"/>
            <a:ext cx="893842" cy="316404"/>
          </a:xfrm>
          <a:prstGeom prst="rect">
            <a:avLst/>
          </a:prstGeom>
        </p:spPr>
      </p:pic>
      <p:pic>
        <p:nvPicPr>
          <p:cNvPr id="10" name="Google Shape;98;p1" descr="Secure Data Access Professionals (SDAP ...">
            <a:extLst>
              <a:ext uri="{FF2B5EF4-FFF2-40B4-BE49-F238E27FC236}">
                <a16:creationId xmlns:a16="http://schemas.microsoft.com/office/drawing/2014/main" id="{E00D2E6F-917C-1CF8-7C2F-CD29F153EA3E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9468" b="2950"/>
          <a:stretch>
            <a:fillRect/>
          </a:stretch>
        </p:blipFill>
        <p:spPr>
          <a:xfrm>
            <a:off x="9573187" y="5658476"/>
            <a:ext cx="1987216" cy="359364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CD34613-1761-B978-459F-41FB76FF0BCA}"/>
              </a:ext>
            </a:extLst>
          </p:cNvPr>
          <p:cNvCxnSpPr>
            <a:cxnSpLocks/>
          </p:cNvCxnSpPr>
          <p:nvPr/>
        </p:nvCxnSpPr>
        <p:spPr>
          <a:xfrm>
            <a:off x="4120180" y="5585527"/>
            <a:ext cx="0" cy="50526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41E01BF-C11D-946C-7C0D-B131A113916B}"/>
              </a:ext>
            </a:extLst>
          </p:cNvPr>
          <p:cNvCxnSpPr>
            <a:cxnSpLocks/>
          </p:cNvCxnSpPr>
          <p:nvPr/>
        </p:nvCxnSpPr>
        <p:spPr>
          <a:xfrm>
            <a:off x="6193560" y="5585527"/>
            <a:ext cx="0" cy="50526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537D028-5185-FB86-B196-72D7E8384FD0}"/>
              </a:ext>
            </a:extLst>
          </p:cNvPr>
          <p:cNvCxnSpPr>
            <a:cxnSpLocks/>
          </p:cNvCxnSpPr>
          <p:nvPr/>
        </p:nvCxnSpPr>
        <p:spPr>
          <a:xfrm>
            <a:off x="7715576" y="5585527"/>
            <a:ext cx="0" cy="50526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21E4A0D-7A45-C70C-614A-3B5D809544BB}"/>
              </a:ext>
            </a:extLst>
          </p:cNvPr>
          <p:cNvCxnSpPr>
            <a:cxnSpLocks/>
          </p:cNvCxnSpPr>
          <p:nvPr/>
        </p:nvCxnSpPr>
        <p:spPr>
          <a:xfrm>
            <a:off x="9251928" y="5585527"/>
            <a:ext cx="0" cy="50526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2D4970E0-CE09-E7F9-DDD0-92560C70FB45}"/>
              </a:ext>
            </a:extLst>
          </p:cNvPr>
          <p:cNvSpPr/>
          <p:nvPr/>
        </p:nvSpPr>
        <p:spPr>
          <a:xfrm>
            <a:off x="8935762" y="1927308"/>
            <a:ext cx="1143000" cy="114091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D08DEA2-2EC0-D802-BA24-8BE885144B3C}"/>
              </a:ext>
            </a:extLst>
          </p:cNvPr>
          <p:cNvSpPr txBox="1"/>
          <p:nvPr/>
        </p:nvSpPr>
        <p:spPr>
          <a:xfrm>
            <a:off x="7481337" y="3195158"/>
            <a:ext cx="4051852" cy="184665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2000" b="0" i="1" dirty="0">
                <a:solidFill>
                  <a:schemeClr val="bg1"/>
                </a:solidFill>
              </a:rPr>
              <a:t>Understand the sensitive data curation skills and needs of data professionals, and support them by piloting evidence-based training to strengthen curation in TREs and SDEs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766E18B-BC21-5885-05DD-35E884FBBD79}"/>
              </a:ext>
            </a:extLst>
          </p:cNvPr>
          <p:cNvGrpSpPr/>
          <p:nvPr/>
        </p:nvGrpSpPr>
        <p:grpSpPr>
          <a:xfrm>
            <a:off x="9199445" y="2169778"/>
            <a:ext cx="615634" cy="655972"/>
            <a:chOff x="8373961" y="2415656"/>
            <a:chExt cx="615634" cy="655972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7B4D000-A033-4FB7-4B4B-D02644534AA9}"/>
                </a:ext>
              </a:extLst>
            </p:cNvPr>
            <p:cNvSpPr/>
            <p:nvPr/>
          </p:nvSpPr>
          <p:spPr>
            <a:xfrm>
              <a:off x="8420694" y="2415656"/>
              <a:ext cx="140626" cy="107708"/>
            </a:xfrm>
            <a:custGeom>
              <a:avLst/>
              <a:gdLst>
                <a:gd name="csX0" fmla="*/ 0 w 140626"/>
                <a:gd name="csY0" fmla="*/ 107708 h 107708"/>
                <a:gd name="csX1" fmla="*/ 0 w 140626"/>
                <a:gd name="csY1" fmla="*/ 70100 h 107708"/>
                <a:gd name="csX2" fmla="*/ 70015 w 140626"/>
                <a:gd name="csY2" fmla="*/ 0 h 107708"/>
                <a:gd name="csX3" fmla="*/ 70527 w 140626"/>
                <a:gd name="csY3" fmla="*/ 0 h 107708"/>
                <a:gd name="csX4" fmla="*/ 140627 w 140626"/>
                <a:gd name="csY4" fmla="*/ 70100 h 107708"/>
                <a:gd name="csX5" fmla="*/ 140627 w 140626"/>
                <a:gd name="csY5" fmla="*/ 107708 h 1077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140626" h="107708">
                  <a:moveTo>
                    <a:pt x="0" y="107708"/>
                  </a:moveTo>
                  <a:lnTo>
                    <a:pt x="0" y="70100"/>
                  </a:lnTo>
                  <a:cubicBezTo>
                    <a:pt x="0" y="31383"/>
                    <a:pt x="31298" y="0"/>
                    <a:pt x="70015" y="0"/>
                  </a:cubicBezTo>
                  <a:lnTo>
                    <a:pt x="70527" y="0"/>
                  </a:lnTo>
                  <a:cubicBezTo>
                    <a:pt x="109244" y="0"/>
                    <a:pt x="140627" y="31383"/>
                    <a:pt x="140627" y="70100"/>
                  </a:cubicBezTo>
                  <a:lnTo>
                    <a:pt x="140627" y="107708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F1B8586-9AF3-BEA1-4BE8-9DEBAAE682DE}"/>
                </a:ext>
              </a:extLst>
            </p:cNvPr>
            <p:cNvSpPr/>
            <p:nvPr/>
          </p:nvSpPr>
          <p:spPr>
            <a:xfrm>
              <a:off x="8373961" y="2523365"/>
              <a:ext cx="234008" cy="212602"/>
            </a:xfrm>
            <a:prstGeom prst="rect">
              <a:avLst/>
            </a:pr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76A734B-6846-61D6-D0CF-88121A71C324}"/>
                </a:ext>
              </a:extLst>
            </p:cNvPr>
            <p:cNvSpPr/>
            <p:nvPr/>
          </p:nvSpPr>
          <p:spPr>
            <a:xfrm>
              <a:off x="8471265" y="2587666"/>
              <a:ext cx="36244" cy="33600"/>
            </a:xfrm>
            <a:custGeom>
              <a:avLst/>
              <a:gdLst>
                <a:gd name="csX0" fmla="*/ 27460 w 36244"/>
                <a:gd name="csY0" fmla="*/ 33600 h 33600"/>
                <a:gd name="csX1" fmla="*/ 36244 w 36244"/>
                <a:gd name="csY1" fmla="*/ 18165 h 33600"/>
                <a:gd name="csX2" fmla="*/ 18165 w 36244"/>
                <a:gd name="csY2" fmla="*/ 0 h 33600"/>
                <a:gd name="csX3" fmla="*/ 0 w 36244"/>
                <a:gd name="csY3" fmla="*/ 18165 h 33600"/>
                <a:gd name="csX4" fmla="*/ 7164 w 36244"/>
                <a:gd name="csY4" fmla="*/ 32492 h 336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36244" h="33600">
                  <a:moveTo>
                    <a:pt x="27460" y="33600"/>
                  </a:moveTo>
                  <a:cubicBezTo>
                    <a:pt x="32748" y="30445"/>
                    <a:pt x="36244" y="24646"/>
                    <a:pt x="36244" y="18165"/>
                  </a:cubicBezTo>
                  <a:cubicBezTo>
                    <a:pt x="36244" y="8102"/>
                    <a:pt x="28142" y="0"/>
                    <a:pt x="18165" y="0"/>
                  </a:cubicBezTo>
                  <a:cubicBezTo>
                    <a:pt x="8187" y="0"/>
                    <a:pt x="0" y="8102"/>
                    <a:pt x="0" y="18165"/>
                  </a:cubicBezTo>
                  <a:cubicBezTo>
                    <a:pt x="0" y="23964"/>
                    <a:pt x="2814" y="29166"/>
                    <a:pt x="7164" y="32492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4781438-2077-4A19-6D53-0D024C2AC15B}"/>
                </a:ext>
              </a:extLst>
            </p:cNvPr>
            <p:cNvSpPr/>
            <p:nvPr/>
          </p:nvSpPr>
          <p:spPr>
            <a:xfrm>
              <a:off x="8478343" y="2620157"/>
              <a:ext cx="20381" cy="48183"/>
            </a:xfrm>
            <a:custGeom>
              <a:avLst/>
              <a:gdLst>
                <a:gd name="csX0" fmla="*/ 20382 w 20381"/>
                <a:gd name="csY0" fmla="*/ 1109 h 48183"/>
                <a:gd name="csX1" fmla="*/ 20382 w 20381"/>
                <a:gd name="csY1" fmla="*/ 38035 h 48183"/>
                <a:gd name="csX2" fmla="*/ 10234 w 20381"/>
                <a:gd name="csY2" fmla="*/ 48183 h 48183"/>
                <a:gd name="csX3" fmla="*/ 0 w 20381"/>
                <a:gd name="csY3" fmla="*/ 38035 h 48183"/>
                <a:gd name="csX4" fmla="*/ 0 w 20381"/>
                <a:gd name="csY4" fmla="*/ 0 h 4818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20381" h="48183">
                  <a:moveTo>
                    <a:pt x="20382" y="1109"/>
                  </a:moveTo>
                  <a:lnTo>
                    <a:pt x="20382" y="38035"/>
                  </a:lnTo>
                  <a:cubicBezTo>
                    <a:pt x="20382" y="43663"/>
                    <a:pt x="15862" y="48183"/>
                    <a:pt x="10234" y="48183"/>
                  </a:cubicBezTo>
                  <a:cubicBezTo>
                    <a:pt x="4605" y="48183"/>
                    <a:pt x="0" y="43663"/>
                    <a:pt x="0" y="38035"/>
                  </a:cubicBez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A88E043-2B57-63A0-3063-E723A94839A6}"/>
                </a:ext>
              </a:extLst>
            </p:cNvPr>
            <p:cNvSpPr/>
            <p:nvPr/>
          </p:nvSpPr>
          <p:spPr>
            <a:xfrm>
              <a:off x="8416119" y="2621181"/>
              <a:ext cx="573476" cy="450447"/>
            </a:xfrm>
            <a:custGeom>
              <a:avLst/>
              <a:gdLst>
                <a:gd name="csX0" fmla="*/ 191850 w 573476"/>
                <a:gd name="csY0" fmla="*/ 47074 h 450447"/>
                <a:gd name="csX1" fmla="*/ 284123 w 573476"/>
                <a:gd name="csY1" fmla="*/ 47074 h 450447"/>
                <a:gd name="csX2" fmla="*/ 341261 w 573476"/>
                <a:gd name="csY2" fmla="*/ 0 h 450447"/>
                <a:gd name="csX3" fmla="*/ 509007 w 573476"/>
                <a:gd name="csY3" fmla="*/ 0 h 450447"/>
                <a:gd name="csX4" fmla="*/ 532459 w 573476"/>
                <a:gd name="csY4" fmla="*/ 23452 h 450447"/>
                <a:gd name="csX5" fmla="*/ 532459 w 573476"/>
                <a:gd name="csY5" fmla="*/ 131757 h 450447"/>
                <a:gd name="csX6" fmla="*/ 544313 w 573476"/>
                <a:gd name="csY6" fmla="*/ 131757 h 450447"/>
                <a:gd name="csX7" fmla="*/ 573222 w 573476"/>
                <a:gd name="csY7" fmla="*/ 164675 h 450447"/>
                <a:gd name="csX8" fmla="*/ 538940 w 573476"/>
                <a:gd name="csY8" fmla="*/ 426484 h 450447"/>
                <a:gd name="csX9" fmla="*/ 511650 w 573476"/>
                <a:gd name="csY9" fmla="*/ 450448 h 450447"/>
                <a:gd name="csX10" fmla="*/ 55573 w 573476"/>
                <a:gd name="csY10" fmla="*/ 450448 h 450447"/>
                <a:gd name="csX11" fmla="*/ 28283 w 573476"/>
                <a:gd name="csY11" fmla="*/ 426569 h 450447"/>
                <a:gd name="csX12" fmla="*/ 226 w 573476"/>
                <a:gd name="csY12" fmla="*/ 217208 h 450447"/>
                <a:gd name="csX13" fmla="*/ 25981 w 573476"/>
                <a:gd name="csY13" fmla="*/ 187786 h 450447"/>
                <a:gd name="csX14" fmla="*/ 25981 w 573476"/>
                <a:gd name="csY14" fmla="*/ 187786 h 450447"/>
                <a:gd name="csX15" fmla="*/ 25981 w 573476"/>
                <a:gd name="csY15" fmla="*/ 114701 h 45044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573476" h="450447">
                  <a:moveTo>
                    <a:pt x="191850" y="47074"/>
                  </a:moveTo>
                  <a:lnTo>
                    <a:pt x="284123" y="47074"/>
                  </a:lnTo>
                  <a:lnTo>
                    <a:pt x="341261" y="0"/>
                  </a:lnTo>
                  <a:lnTo>
                    <a:pt x="509007" y="0"/>
                  </a:lnTo>
                  <a:cubicBezTo>
                    <a:pt x="521969" y="0"/>
                    <a:pt x="532459" y="10489"/>
                    <a:pt x="532459" y="23452"/>
                  </a:cubicBezTo>
                  <a:lnTo>
                    <a:pt x="532459" y="131757"/>
                  </a:lnTo>
                  <a:lnTo>
                    <a:pt x="544313" y="131757"/>
                  </a:lnTo>
                  <a:cubicBezTo>
                    <a:pt x="561880" y="131757"/>
                    <a:pt x="575525" y="147278"/>
                    <a:pt x="573222" y="164675"/>
                  </a:cubicBezTo>
                  <a:lnTo>
                    <a:pt x="538940" y="426484"/>
                  </a:lnTo>
                  <a:cubicBezTo>
                    <a:pt x="537149" y="440214"/>
                    <a:pt x="525466" y="450448"/>
                    <a:pt x="511650" y="450448"/>
                  </a:cubicBezTo>
                  <a:lnTo>
                    <a:pt x="55573" y="450448"/>
                  </a:lnTo>
                  <a:cubicBezTo>
                    <a:pt x="41757" y="450448"/>
                    <a:pt x="30074" y="440214"/>
                    <a:pt x="28283" y="426569"/>
                  </a:cubicBezTo>
                  <a:lnTo>
                    <a:pt x="226" y="217208"/>
                  </a:lnTo>
                  <a:cubicBezTo>
                    <a:pt x="-1821" y="201601"/>
                    <a:pt x="10289" y="187786"/>
                    <a:pt x="25981" y="187786"/>
                  </a:cubicBezTo>
                  <a:lnTo>
                    <a:pt x="25981" y="187786"/>
                  </a:lnTo>
                  <a:lnTo>
                    <a:pt x="25981" y="114701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DCDF594-1EC7-170F-49D8-8F87E7FCCB6D}"/>
                </a:ext>
              </a:extLst>
            </p:cNvPr>
            <p:cNvSpPr/>
            <p:nvPr/>
          </p:nvSpPr>
          <p:spPr>
            <a:xfrm>
              <a:off x="8491050" y="2715585"/>
              <a:ext cx="403800" cy="86814"/>
            </a:xfrm>
            <a:custGeom>
              <a:avLst/>
              <a:gdLst>
                <a:gd name="csX0" fmla="*/ 113422 w 403800"/>
                <a:gd name="csY0" fmla="*/ 0 h 86814"/>
                <a:gd name="csX1" fmla="*/ 378302 w 403800"/>
                <a:gd name="csY1" fmla="*/ 0 h 86814"/>
                <a:gd name="csX2" fmla="*/ 403801 w 403800"/>
                <a:gd name="csY2" fmla="*/ 25499 h 86814"/>
                <a:gd name="csX3" fmla="*/ 403801 w 403800"/>
                <a:gd name="csY3" fmla="*/ 35221 h 86814"/>
                <a:gd name="csX4" fmla="*/ 276307 w 403800"/>
                <a:gd name="csY4" fmla="*/ 35221 h 86814"/>
                <a:gd name="csX5" fmla="*/ 219170 w 403800"/>
                <a:gd name="csY5" fmla="*/ 86815 h 86814"/>
                <a:gd name="csX6" fmla="*/ 0 w 403800"/>
                <a:gd name="csY6" fmla="*/ 86815 h 86814"/>
                <a:gd name="csX7" fmla="*/ 0 w 403800"/>
                <a:gd name="csY7" fmla="*/ 20382 h 868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403800" h="86814">
                  <a:moveTo>
                    <a:pt x="113422" y="0"/>
                  </a:moveTo>
                  <a:lnTo>
                    <a:pt x="378302" y="0"/>
                  </a:lnTo>
                  <a:cubicBezTo>
                    <a:pt x="392373" y="0"/>
                    <a:pt x="403801" y="11427"/>
                    <a:pt x="403801" y="25499"/>
                  </a:cubicBezTo>
                  <a:lnTo>
                    <a:pt x="403801" y="35221"/>
                  </a:lnTo>
                  <a:lnTo>
                    <a:pt x="276307" y="35221"/>
                  </a:lnTo>
                  <a:lnTo>
                    <a:pt x="219170" y="86815"/>
                  </a:lnTo>
                  <a:lnTo>
                    <a:pt x="0" y="86815"/>
                  </a:lnTo>
                  <a:lnTo>
                    <a:pt x="0" y="20382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CDF0C17-7F34-2C45-F2DD-8CC0B0BFDC1A}"/>
                </a:ext>
              </a:extLst>
            </p:cNvPr>
            <p:cNvSpPr/>
            <p:nvPr/>
          </p:nvSpPr>
          <p:spPr>
            <a:xfrm>
              <a:off x="8488492" y="2877190"/>
              <a:ext cx="204416" cy="8527"/>
            </a:xfrm>
            <a:custGeom>
              <a:avLst/>
              <a:gdLst>
                <a:gd name="csX0" fmla="*/ 0 w 204416"/>
                <a:gd name="csY0" fmla="*/ 0 h 8527"/>
                <a:gd name="csX1" fmla="*/ 204416 w 204416"/>
                <a:gd name="csY1" fmla="*/ 0 h 852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04416" h="8527">
                  <a:moveTo>
                    <a:pt x="0" y="0"/>
                  </a:moveTo>
                  <a:lnTo>
                    <a:pt x="204416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9D95135-1409-41C6-2DDA-39EF632D96EC}"/>
                </a:ext>
              </a:extLst>
            </p:cNvPr>
            <p:cNvSpPr/>
            <p:nvPr/>
          </p:nvSpPr>
          <p:spPr>
            <a:xfrm>
              <a:off x="8488492" y="2940639"/>
              <a:ext cx="204416" cy="8527"/>
            </a:xfrm>
            <a:custGeom>
              <a:avLst/>
              <a:gdLst>
                <a:gd name="csX0" fmla="*/ 0 w 204416"/>
                <a:gd name="csY0" fmla="*/ 0 h 8527"/>
                <a:gd name="csX1" fmla="*/ 204416 w 204416"/>
                <a:gd name="csY1" fmla="*/ 0 h 852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04416" h="8527">
                  <a:moveTo>
                    <a:pt x="0" y="0"/>
                  </a:moveTo>
                  <a:lnTo>
                    <a:pt x="204416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70DE93D-B69D-386D-C3AD-1774390717C0}"/>
                </a:ext>
              </a:extLst>
            </p:cNvPr>
            <p:cNvSpPr/>
            <p:nvPr/>
          </p:nvSpPr>
          <p:spPr>
            <a:xfrm>
              <a:off x="8488492" y="3004087"/>
              <a:ext cx="204416" cy="8527"/>
            </a:xfrm>
            <a:custGeom>
              <a:avLst/>
              <a:gdLst>
                <a:gd name="csX0" fmla="*/ 0 w 204416"/>
                <a:gd name="csY0" fmla="*/ 0 h 8527"/>
                <a:gd name="csX1" fmla="*/ 204416 w 204416"/>
                <a:gd name="csY1" fmla="*/ 0 h 852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04416" h="8527">
                  <a:moveTo>
                    <a:pt x="0" y="0"/>
                  </a:moveTo>
                  <a:lnTo>
                    <a:pt x="204416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grpSp>
          <p:nvGrpSpPr>
            <p:cNvPr id="27" name="Graphic 6">
              <a:extLst>
                <a:ext uri="{FF2B5EF4-FFF2-40B4-BE49-F238E27FC236}">
                  <a16:creationId xmlns:a16="http://schemas.microsoft.com/office/drawing/2014/main" id="{65766EB9-FADB-B38F-E5D2-37BF8B100952}"/>
                </a:ext>
              </a:extLst>
            </p:cNvPr>
            <p:cNvGrpSpPr/>
            <p:nvPr/>
          </p:nvGrpSpPr>
          <p:grpSpPr>
            <a:xfrm>
              <a:off x="8751154" y="2802400"/>
              <a:ext cx="174227" cy="222580"/>
              <a:chOff x="8751154" y="2802400"/>
              <a:chExt cx="174227" cy="222580"/>
            </a:xfrm>
            <a:noFill/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90974BA9-C1C4-2005-1532-D1DA7CC44727}"/>
                  </a:ext>
                </a:extLst>
              </p:cNvPr>
              <p:cNvSpPr/>
              <p:nvPr/>
            </p:nvSpPr>
            <p:spPr>
              <a:xfrm>
                <a:off x="8785230" y="2802400"/>
                <a:ext cx="105321" cy="129369"/>
              </a:xfrm>
              <a:custGeom>
                <a:avLst/>
                <a:gdLst>
                  <a:gd name="csX0" fmla="*/ 92394 w 105321"/>
                  <a:gd name="csY0" fmla="*/ 96110 h 129369"/>
                  <a:gd name="csX1" fmla="*/ 55212 w 105321"/>
                  <a:gd name="csY1" fmla="*/ 129369 h 129369"/>
                  <a:gd name="csX2" fmla="*/ 51374 w 105321"/>
                  <a:gd name="csY2" fmla="*/ 129369 h 129369"/>
                  <a:gd name="csX3" fmla="*/ 16239 w 105321"/>
                  <a:gd name="csY3" fmla="*/ 97986 h 129369"/>
                  <a:gd name="csX4" fmla="*/ 1827 w 105321"/>
                  <a:gd name="csY4" fmla="*/ 80930 h 129369"/>
                  <a:gd name="csX5" fmla="*/ 7285 w 105321"/>
                  <a:gd name="csY5" fmla="*/ 64216 h 129369"/>
                  <a:gd name="csX6" fmla="*/ 7285 w 105321"/>
                  <a:gd name="csY6" fmla="*/ 42981 h 129369"/>
                  <a:gd name="csX7" fmla="*/ 50266 w 105321"/>
                  <a:gd name="csY7" fmla="*/ 0 h 129369"/>
                  <a:gd name="csX8" fmla="*/ 56406 w 105321"/>
                  <a:gd name="csY8" fmla="*/ 0 h 129369"/>
                  <a:gd name="csX9" fmla="*/ 99387 w 105321"/>
                  <a:gd name="csY9" fmla="*/ 42981 h 129369"/>
                  <a:gd name="csX10" fmla="*/ 99387 w 105321"/>
                  <a:gd name="csY10" fmla="*/ 63875 h 129369"/>
                  <a:gd name="csX11" fmla="*/ 104760 w 105321"/>
                  <a:gd name="csY11" fmla="*/ 74535 h 129369"/>
                  <a:gd name="csX12" fmla="*/ 92394 w 105321"/>
                  <a:gd name="csY12" fmla="*/ 96110 h 12936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105321" h="129369">
                    <a:moveTo>
                      <a:pt x="92394" y="96110"/>
                    </a:moveTo>
                    <a:cubicBezTo>
                      <a:pt x="92394" y="96110"/>
                      <a:pt x="78664" y="129369"/>
                      <a:pt x="55212" y="129369"/>
                    </a:cubicBezTo>
                    <a:lnTo>
                      <a:pt x="51374" y="129369"/>
                    </a:lnTo>
                    <a:cubicBezTo>
                      <a:pt x="26899" y="129369"/>
                      <a:pt x="16239" y="97986"/>
                      <a:pt x="16239" y="97986"/>
                    </a:cubicBezTo>
                    <a:cubicBezTo>
                      <a:pt x="8905" y="96110"/>
                      <a:pt x="4129" y="87497"/>
                      <a:pt x="1827" y="80930"/>
                    </a:cubicBezTo>
                    <a:cubicBezTo>
                      <a:pt x="-4399" y="61743"/>
                      <a:pt x="7285" y="64216"/>
                      <a:pt x="7285" y="64216"/>
                    </a:cubicBezTo>
                    <a:lnTo>
                      <a:pt x="7285" y="42981"/>
                    </a:lnTo>
                    <a:cubicBezTo>
                      <a:pt x="7285" y="19359"/>
                      <a:pt x="26643" y="0"/>
                      <a:pt x="50266" y="0"/>
                    </a:cubicBezTo>
                    <a:lnTo>
                      <a:pt x="56406" y="0"/>
                    </a:lnTo>
                    <a:cubicBezTo>
                      <a:pt x="80029" y="0"/>
                      <a:pt x="99387" y="19359"/>
                      <a:pt x="99387" y="42981"/>
                    </a:cubicBezTo>
                    <a:lnTo>
                      <a:pt x="99387" y="63875"/>
                    </a:lnTo>
                    <a:cubicBezTo>
                      <a:pt x="99387" y="63875"/>
                      <a:pt x="107489" y="61743"/>
                      <a:pt x="104760" y="74535"/>
                    </a:cubicBezTo>
                    <a:cubicBezTo>
                      <a:pt x="102713" y="85194"/>
                      <a:pt x="99387" y="94661"/>
                      <a:pt x="92394" y="9611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8B0401C-03A2-70E0-00B4-D939AA092653}"/>
                  </a:ext>
                </a:extLst>
              </p:cNvPr>
              <p:cNvSpPr/>
              <p:nvPr/>
            </p:nvSpPr>
            <p:spPr>
              <a:xfrm>
                <a:off x="8751154" y="2930490"/>
                <a:ext cx="174227" cy="94489"/>
              </a:xfrm>
              <a:custGeom>
                <a:avLst/>
                <a:gdLst>
                  <a:gd name="csX0" fmla="*/ 66348 w 174227"/>
                  <a:gd name="csY0" fmla="*/ 0 h 94489"/>
                  <a:gd name="csX1" fmla="*/ 11683 w 174227"/>
                  <a:gd name="csY1" fmla="*/ 23367 h 94489"/>
                  <a:gd name="csX2" fmla="*/ 2047 w 174227"/>
                  <a:gd name="csY2" fmla="*/ 39570 h 94489"/>
                  <a:gd name="csX3" fmla="*/ 0 w 174227"/>
                  <a:gd name="csY3" fmla="*/ 94490 h 94489"/>
                  <a:gd name="csX4" fmla="*/ 174227 w 174227"/>
                  <a:gd name="csY4" fmla="*/ 94490 h 94489"/>
                  <a:gd name="csX5" fmla="*/ 172180 w 174227"/>
                  <a:gd name="csY5" fmla="*/ 41105 h 94489"/>
                  <a:gd name="csX6" fmla="*/ 159047 w 174227"/>
                  <a:gd name="csY6" fmla="*/ 22684 h 94489"/>
                  <a:gd name="csX7" fmla="*/ 106600 w 174227"/>
                  <a:gd name="csY7" fmla="*/ 853 h 9448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174227" h="94489">
                    <a:moveTo>
                      <a:pt x="66348" y="0"/>
                    </a:moveTo>
                    <a:lnTo>
                      <a:pt x="11683" y="23367"/>
                    </a:lnTo>
                    <a:cubicBezTo>
                      <a:pt x="11683" y="23367"/>
                      <a:pt x="3070" y="27631"/>
                      <a:pt x="2047" y="39570"/>
                    </a:cubicBezTo>
                    <a:cubicBezTo>
                      <a:pt x="1023" y="51424"/>
                      <a:pt x="0" y="94490"/>
                      <a:pt x="0" y="94490"/>
                    </a:cubicBezTo>
                    <a:lnTo>
                      <a:pt x="174227" y="94490"/>
                    </a:lnTo>
                    <a:lnTo>
                      <a:pt x="172180" y="41105"/>
                    </a:lnTo>
                    <a:cubicBezTo>
                      <a:pt x="172180" y="41105"/>
                      <a:pt x="173204" y="28739"/>
                      <a:pt x="159047" y="22684"/>
                    </a:cubicBezTo>
                    <a:cubicBezTo>
                      <a:pt x="144891" y="16630"/>
                      <a:pt x="106600" y="853"/>
                      <a:pt x="106600" y="853"/>
                    </a:cubicBez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</p:grpSp>
      </p:grpSp>
      <p:pic>
        <p:nvPicPr>
          <p:cNvPr id="2054" name="Picture 6" descr="Technician Commitment Welcomes University of Dundee | Technicians">
            <a:extLst>
              <a:ext uri="{FF2B5EF4-FFF2-40B4-BE49-F238E27FC236}">
                <a16:creationId xmlns:a16="http://schemas.microsoft.com/office/drawing/2014/main" id="{24719F88-E4D6-0C8A-F7A8-16D8FB80A5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92"/>
          <a:stretch>
            <a:fillRect/>
          </a:stretch>
        </p:blipFill>
        <p:spPr bwMode="auto">
          <a:xfrm>
            <a:off x="4503424" y="5503531"/>
            <a:ext cx="1430870" cy="691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D453D212-9063-CBD6-D31D-22C57D5257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2305" y="4251155"/>
            <a:ext cx="1141010" cy="1115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53D6F194-9C0B-3BE9-BC5C-726A13F570B9}"/>
              </a:ext>
            </a:extLst>
          </p:cNvPr>
          <p:cNvSpPr/>
          <p:nvPr/>
        </p:nvSpPr>
        <p:spPr>
          <a:xfrm>
            <a:off x="5726505" y="5200162"/>
            <a:ext cx="1541349" cy="244874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0000">
                <a:schemeClr val="tx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/>
              <a:t>Michelle Evans</a:t>
            </a:r>
          </a:p>
        </p:txBody>
      </p:sp>
    </p:spTree>
    <p:extLst>
      <p:ext uri="{BB962C8B-B14F-4D97-AF65-F5344CB8AC3E}">
        <p14:creationId xmlns:p14="http://schemas.microsoft.com/office/powerpoint/2010/main" val="3146526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DABF9B-5A79-4599-67DF-FD8C09654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| </a:t>
            </a:r>
            <a:fld id="{A134C65A-A9BE-9F48-B07C-F2CA02A2F7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DFE3BA1-A2B5-F805-C890-CB41E39F5B3D}"/>
              </a:ext>
            </a:extLst>
          </p:cNvPr>
          <p:cNvSpPr/>
          <p:nvPr/>
        </p:nvSpPr>
        <p:spPr>
          <a:xfrm>
            <a:off x="2489199" y="1640286"/>
            <a:ext cx="6064481" cy="1071459"/>
          </a:xfrm>
          <a:prstGeom prst="rect">
            <a:avLst/>
          </a:prstGeom>
          <a:solidFill>
            <a:schemeClr val="accent1"/>
          </a:solidFill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868680" rIns="9144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duct a rigorous and complete analysis of the current status of data curation skills and needs for sensitive data across UK’s sensitive data infrastructur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C2D669F-9D40-53F0-B308-E4E86EDBBD9B}"/>
              </a:ext>
            </a:extLst>
          </p:cNvPr>
          <p:cNvSpPr/>
          <p:nvPr/>
        </p:nvSpPr>
        <p:spPr>
          <a:xfrm>
            <a:off x="2489199" y="2791654"/>
            <a:ext cx="6064481" cy="1071459"/>
          </a:xfrm>
          <a:prstGeom prst="rect">
            <a:avLst/>
          </a:prstGeom>
          <a:solidFill>
            <a:schemeClr val="accent6"/>
          </a:solidFill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868680" rIns="9144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 an evidence-led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oritise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ist of skills gaps in response to the landscape review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D1BD5C9-BC3F-89F5-FF85-48404D724FA7}"/>
              </a:ext>
            </a:extLst>
          </p:cNvPr>
          <p:cNvSpPr/>
          <p:nvPr/>
        </p:nvSpPr>
        <p:spPr>
          <a:xfrm>
            <a:off x="2489199" y="3943022"/>
            <a:ext cx="6064481" cy="1071459"/>
          </a:xfrm>
          <a:prstGeom prst="rect">
            <a:avLst/>
          </a:prstGeom>
          <a:solidFill>
            <a:schemeClr val="tx1"/>
          </a:solidFill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868680" rIns="9144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ver a ‘proof on concept’ curriculum and test a train the trainer model -which could be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lisabl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remove barriers/coordinated across sensitive data infrastructu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00CB6F-815F-BE91-D0C2-0272F01F97BC}"/>
              </a:ext>
            </a:extLst>
          </p:cNvPr>
          <p:cNvSpPr/>
          <p:nvPr/>
        </p:nvSpPr>
        <p:spPr>
          <a:xfrm>
            <a:off x="2489199" y="5094391"/>
            <a:ext cx="6064481" cy="1071459"/>
          </a:xfrm>
          <a:prstGeom prst="rect">
            <a:avLst/>
          </a:prstGeom>
          <a:solidFill>
            <a:schemeClr val="accent2"/>
          </a:solidFill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868680" rIns="9144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ster a collaborative network of stakeholders through an annual Skills Summit, facilitating ongoing dialogue and improvement in sensitive data skills development.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DE6D3E8-E65B-C780-03BE-81DE88E79571}"/>
              </a:ext>
            </a:extLst>
          </p:cNvPr>
          <p:cNvSpPr/>
          <p:nvPr/>
        </p:nvSpPr>
        <p:spPr>
          <a:xfrm>
            <a:off x="2598138" y="1878835"/>
            <a:ext cx="594360" cy="5943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3ACA9E6-2DE0-60C2-AEEA-229473C5F87D}"/>
              </a:ext>
            </a:extLst>
          </p:cNvPr>
          <p:cNvSpPr/>
          <p:nvPr/>
        </p:nvSpPr>
        <p:spPr>
          <a:xfrm>
            <a:off x="2598138" y="3030203"/>
            <a:ext cx="594360" cy="5943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C0AEA6F-83F2-3F68-764B-E0079202AF75}"/>
              </a:ext>
            </a:extLst>
          </p:cNvPr>
          <p:cNvSpPr/>
          <p:nvPr/>
        </p:nvSpPr>
        <p:spPr>
          <a:xfrm>
            <a:off x="2598138" y="4181571"/>
            <a:ext cx="594360" cy="5943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CA55E07-6EB0-1EC6-FDA5-D8A7557AB7AB}"/>
              </a:ext>
            </a:extLst>
          </p:cNvPr>
          <p:cNvGrpSpPr/>
          <p:nvPr/>
        </p:nvGrpSpPr>
        <p:grpSpPr>
          <a:xfrm>
            <a:off x="2763479" y="5464953"/>
            <a:ext cx="259774" cy="330334"/>
            <a:chOff x="1114065" y="5527618"/>
            <a:chExt cx="259774" cy="330334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F2DD49C-3EDE-5CF5-EF35-900AF61C0816}"/>
                </a:ext>
              </a:extLst>
            </p:cNvPr>
            <p:cNvSpPr/>
            <p:nvPr/>
          </p:nvSpPr>
          <p:spPr>
            <a:xfrm>
              <a:off x="1114065" y="5527618"/>
              <a:ext cx="214738" cy="293419"/>
            </a:xfrm>
            <a:custGeom>
              <a:avLst/>
              <a:gdLst>
                <a:gd name="csX0" fmla="*/ 29743 w 214738"/>
                <a:gd name="csY0" fmla="*/ 293419 h 293419"/>
                <a:gd name="csX1" fmla="*/ 0 w 214738"/>
                <a:gd name="csY1" fmla="*/ 293419 h 293419"/>
                <a:gd name="csX2" fmla="*/ 0 w 214738"/>
                <a:gd name="csY2" fmla="*/ 0 h 293419"/>
                <a:gd name="csX3" fmla="*/ 214739 w 214738"/>
                <a:gd name="csY3" fmla="*/ 0 h 293419"/>
                <a:gd name="csX4" fmla="*/ 214739 w 214738"/>
                <a:gd name="csY4" fmla="*/ 28266 h 29341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214738" h="293419">
                  <a:moveTo>
                    <a:pt x="29743" y="293419"/>
                  </a:moveTo>
                  <a:lnTo>
                    <a:pt x="0" y="293419"/>
                  </a:lnTo>
                  <a:lnTo>
                    <a:pt x="0" y="0"/>
                  </a:lnTo>
                  <a:lnTo>
                    <a:pt x="214739" y="0"/>
                  </a:lnTo>
                  <a:lnTo>
                    <a:pt x="214739" y="28266"/>
                  </a:lnTo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1" name="Graphic 23">
              <a:extLst>
                <a:ext uri="{FF2B5EF4-FFF2-40B4-BE49-F238E27FC236}">
                  <a16:creationId xmlns:a16="http://schemas.microsoft.com/office/drawing/2014/main" id="{44CF7786-AB63-0A53-7670-5FCE3C11DCA6}"/>
                </a:ext>
              </a:extLst>
            </p:cNvPr>
            <p:cNvGrpSpPr/>
            <p:nvPr/>
          </p:nvGrpSpPr>
          <p:grpSpPr>
            <a:xfrm>
              <a:off x="1159101" y="5564533"/>
              <a:ext cx="214738" cy="293419"/>
              <a:chOff x="1159101" y="5564533"/>
              <a:chExt cx="214738" cy="293419"/>
            </a:xfrm>
            <a:noFill/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D221316-73FD-314F-884F-1D993B96823E}"/>
                  </a:ext>
                </a:extLst>
              </p:cNvPr>
              <p:cNvSpPr/>
              <p:nvPr/>
            </p:nvSpPr>
            <p:spPr>
              <a:xfrm>
                <a:off x="1159101" y="5564533"/>
                <a:ext cx="214738" cy="293419"/>
              </a:xfrm>
              <a:prstGeom prst="rect">
                <a:avLst/>
              </a:prstGeom>
              <a:noFill/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EFD6C9A9-91FE-C27E-7C69-4BEF91104D48}"/>
                  </a:ext>
                </a:extLst>
              </p:cNvPr>
              <p:cNvSpPr/>
              <p:nvPr/>
            </p:nvSpPr>
            <p:spPr>
              <a:xfrm>
                <a:off x="1202766" y="5620116"/>
                <a:ext cx="127408" cy="10547"/>
              </a:xfrm>
              <a:custGeom>
                <a:avLst/>
                <a:gdLst>
                  <a:gd name="csX0" fmla="*/ 0 w 127408"/>
                  <a:gd name="csY0" fmla="*/ 0 h 10547"/>
                  <a:gd name="csX1" fmla="*/ 127409 w 127408"/>
                  <a:gd name="csY1" fmla="*/ 0 h 1054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127408" h="10547">
                    <a:moveTo>
                      <a:pt x="0" y="0"/>
                    </a:moveTo>
                    <a:lnTo>
                      <a:pt x="127409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89C1652-3157-FE76-A791-1A937C4B6BEA}"/>
                  </a:ext>
                </a:extLst>
              </p:cNvPr>
              <p:cNvSpPr/>
              <p:nvPr/>
            </p:nvSpPr>
            <p:spPr>
              <a:xfrm>
                <a:off x="1202766" y="5666206"/>
                <a:ext cx="127408" cy="10547"/>
              </a:xfrm>
              <a:custGeom>
                <a:avLst/>
                <a:gdLst>
                  <a:gd name="csX0" fmla="*/ 0 w 127408"/>
                  <a:gd name="csY0" fmla="*/ 0 h 10547"/>
                  <a:gd name="csX1" fmla="*/ 127409 w 127408"/>
                  <a:gd name="csY1" fmla="*/ 0 h 1054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127408" h="10547">
                    <a:moveTo>
                      <a:pt x="0" y="0"/>
                    </a:moveTo>
                    <a:lnTo>
                      <a:pt x="127409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FFB80614-7F72-B3B6-60CC-3D1B51F9A800}"/>
                  </a:ext>
                </a:extLst>
              </p:cNvPr>
              <p:cNvSpPr/>
              <p:nvPr/>
            </p:nvSpPr>
            <p:spPr>
              <a:xfrm>
                <a:off x="1202766" y="5711242"/>
                <a:ext cx="127408" cy="10547"/>
              </a:xfrm>
              <a:custGeom>
                <a:avLst/>
                <a:gdLst>
                  <a:gd name="csX0" fmla="*/ 0 w 127408"/>
                  <a:gd name="csY0" fmla="*/ 0 h 10547"/>
                  <a:gd name="csX1" fmla="*/ 127409 w 127408"/>
                  <a:gd name="csY1" fmla="*/ 0 h 1054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127408" h="10547">
                    <a:moveTo>
                      <a:pt x="0" y="0"/>
                    </a:moveTo>
                    <a:lnTo>
                      <a:pt x="127409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51CD4CF7-2DEE-AB2D-7DA6-2166DB28AD7B}"/>
                  </a:ext>
                </a:extLst>
              </p:cNvPr>
              <p:cNvSpPr/>
              <p:nvPr/>
            </p:nvSpPr>
            <p:spPr>
              <a:xfrm>
                <a:off x="1202766" y="5756278"/>
                <a:ext cx="127408" cy="10547"/>
              </a:xfrm>
              <a:custGeom>
                <a:avLst/>
                <a:gdLst>
                  <a:gd name="csX0" fmla="*/ 0 w 127408"/>
                  <a:gd name="csY0" fmla="*/ 0 h 10547"/>
                  <a:gd name="csX1" fmla="*/ 127409 w 127408"/>
                  <a:gd name="csY1" fmla="*/ 0 h 1054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127408" h="10547">
                    <a:moveTo>
                      <a:pt x="0" y="0"/>
                    </a:moveTo>
                    <a:lnTo>
                      <a:pt x="127409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97037100-FF63-7E5A-035E-4A444F0CC023}"/>
                  </a:ext>
                </a:extLst>
              </p:cNvPr>
              <p:cNvSpPr/>
              <p:nvPr/>
            </p:nvSpPr>
            <p:spPr>
              <a:xfrm>
                <a:off x="1202766" y="5801314"/>
                <a:ext cx="127408" cy="10547"/>
              </a:xfrm>
              <a:custGeom>
                <a:avLst/>
                <a:gdLst>
                  <a:gd name="csX0" fmla="*/ 0 w 127408"/>
                  <a:gd name="csY0" fmla="*/ 0 h 10547"/>
                  <a:gd name="csX1" fmla="*/ 127409 w 127408"/>
                  <a:gd name="csY1" fmla="*/ 0 h 1054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127408" h="10547">
                    <a:moveTo>
                      <a:pt x="0" y="0"/>
                    </a:moveTo>
                    <a:lnTo>
                      <a:pt x="127409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5" name="Title 9">
            <a:extLst>
              <a:ext uri="{FF2B5EF4-FFF2-40B4-BE49-F238E27FC236}">
                <a16:creationId xmlns:a16="http://schemas.microsoft.com/office/drawing/2014/main" id="{CBFB4942-CDEA-4BE7-5839-050C160E931D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Our approach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475DA7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CAC3A64B-6205-9711-E2D8-307A98162AE3}"/>
              </a:ext>
            </a:extLst>
          </p:cNvPr>
          <p:cNvGrpSpPr/>
          <p:nvPr/>
        </p:nvGrpSpPr>
        <p:grpSpPr>
          <a:xfrm>
            <a:off x="2735839" y="4305196"/>
            <a:ext cx="318958" cy="325320"/>
            <a:chOff x="1086846" y="3144166"/>
            <a:chExt cx="318958" cy="325320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0524A3F-0F62-C249-3D86-2168B76DB062}"/>
                </a:ext>
              </a:extLst>
            </p:cNvPr>
            <p:cNvSpPr/>
            <p:nvPr/>
          </p:nvSpPr>
          <p:spPr>
            <a:xfrm rot="16213200">
              <a:off x="1152955" y="3405200"/>
              <a:ext cx="41929" cy="86236"/>
            </a:xfrm>
            <a:prstGeom prst="rect">
              <a:avLst/>
            </a:pr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4A9C96EA-DC61-0BC7-EAF6-3701DF89B0DB}"/>
                </a:ext>
              </a:extLst>
            </p:cNvPr>
            <p:cNvSpPr/>
            <p:nvPr/>
          </p:nvSpPr>
          <p:spPr>
            <a:xfrm>
              <a:off x="1153995" y="3187859"/>
              <a:ext cx="41699" cy="41700"/>
            </a:xfrm>
            <a:custGeom>
              <a:avLst/>
              <a:gdLst>
                <a:gd name="csX0" fmla="*/ 41700 w 41699"/>
                <a:gd name="csY0" fmla="*/ 20927 h 41700"/>
                <a:gd name="csX1" fmla="*/ 20773 w 41699"/>
                <a:gd name="csY1" fmla="*/ 41700 h 41700"/>
                <a:gd name="csX2" fmla="*/ 0 w 41699"/>
                <a:gd name="csY2" fmla="*/ 20773 h 41700"/>
                <a:gd name="csX3" fmla="*/ 20927 w 41699"/>
                <a:gd name="csY3" fmla="*/ 0 h 41700"/>
                <a:gd name="csX4" fmla="*/ 41700 w 41699"/>
                <a:gd name="csY4" fmla="*/ 20927 h 417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41699" h="41700">
                  <a:moveTo>
                    <a:pt x="41700" y="20927"/>
                  </a:moveTo>
                  <a:cubicBezTo>
                    <a:pt x="41700" y="32425"/>
                    <a:pt x="32271" y="41700"/>
                    <a:pt x="20773" y="41700"/>
                  </a:cubicBezTo>
                  <a:cubicBezTo>
                    <a:pt x="9275" y="41700"/>
                    <a:pt x="0" y="32272"/>
                    <a:pt x="0" y="20773"/>
                  </a:cubicBezTo>
                  <a:cubicBezTo>
                    <a:pt x="0" y="9275"/>
                    <a:pt x="9428" y="0"/>
                    <a:pt x="20927" y="0"/>
                  </a:cubicBezTo>
                  <a:cubicBezTo>
                    <a:pt x="32425" y="0"/>
                    <a:pt x="41700" y="9428"/>
                    <a:pt x="41700" y="20927"/>
                  </a:cubicBez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6785885B-F834-6DED-A7EE-44E4C3A7769D}"/>
                </a:ext>
              </a:extLst>
            </p:cNvPr>
            <p:cNvSpPr/>
            <p:nvPr/>
          </p:nvSpPr>
          <p:spPr>
            <a:xfrm>
              <a:off x="1207730" y="3290039"/>
              <a:ext cx="153" cy="49902"/>
            </a:xfrm>
            <a:custGeom>
              <a:avLst/>
              <a:gdLst>
                <a:gd name="csX0" fmla="*/ 0 w 153"/>
                <a:gd name="csY0" fmla="*/ 49902 h 49902"/>
                <a:gd name="csX1" fmla="*/ 153 w 153"/>
                <a:gd name="csY1" fmla="*/ 0 h 499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53" h="49902">
                  <a:moveTo>
                    <a:pt x="0" y="49902"/>
                  </a:moveTo>
                  <a:lnTo>
                    <a:pt x="153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02EF117-3980-E1A3-C5C9-E420B1151AE1}"/>
                </a:ext>
              </a:extLst>
            </p:cNvPr>
            <p:cNvSpPr/>
            <p:nvPr/>
          </p:nvSpPr>
          <p:spPr>
            <a:xfrm>
              <a:off x="1141040" y="3289809"/>
              <a:ext cx="153" cy="49902"/>
            </a:xfrm>
            <a:custGeom>
              <a:avLst/>
              <a:gdLst>
                <a:gd name="csX0" fmla="*/ 153 w 153"/>
                <a:gd name="csY0" fmla="*/ 0 h 49902"/>
                <a:gd name="csX1" fmla="*/ 0 w 153"/>
                <a:gd name="csY1" fmla="*/ 49902 h 499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53" h="49902">
                  <a:moveTo>
                    <a:pt x="153" y="0"/>
                  </a:moveTo>
                  <a:lnTo>
                    <a:pt x="0" y="49902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19844E8-B4C2-C095-AA0B-1518B357B155}"/>
                </a:ext>
              </a:extLst>
            </p:cNvPr>
            <p:cNvSpPr/>
            <p:nvPr/>
          </p:nvSpPr>
          <p:spPr>
            <a:xfrm>
              <a:off x="1114365" y="3247419"/>
              <a:ext cx="96661" cy="92138"/>
            </a:xfrm>
            <a:custGeom>
              <a:avLst/>
              <a:gdLst>
                <a:gd name="csX0" fmla="*/ 0 w 96661"/>
                <a:gd name="csY0" fmla="*/ 92139 h 92138"/>
                <a:gd name="csX1" fmla="*/ 230 w 96661"/>
                <a:gd name="csY1" fmla="*/ 27673 h 92138"/>
                <a:gd name="csX2" fmla="*/ 23839 w 96661"/>
                <a:gd name="csY2" fmla="*/ 0 h 92138"/>
                <a:gd name="csX3" fmla="*/ 23839 w 96661"/>
                <a:gd name="csY3" fmla="*/ 0 h 92138"/>
                <a:gd name="csX4" fmla="*/ 96661 w 96661"/>
                <a:gd name="csY4" fmla="*/ 307 h 9213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96661" h="92138">
                  <a:moveTo>
                    <a:pt x="0" y="92139"/>
                  </a:moveTo>
                  <a:lnTo>
                    <a:pt x="230" y="27673"/>
                  </a:lnTo>
                  <a:cubicBezTo>
                    <a:pt x="230" y="12342"/>
                    <a:pt x="8509" y="-76"/>
                    <a:pt x="23839" y="0"/>
                  </a:cubicBezTo>
                  <a:lnTo>
                    <a:pt x="23839" y="0"/>
                  </a:lnTo>
                  <a:lnTo>
                    <a:pt x="96661" y="307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40D8F3F-A376-002E-A2AF-F94E150ED7D8}"/>
                </a:ext>
              </a:extLst>
            </p:cNvPr>
            <p:cNvSpPr/>
            <p:nvPr/>
          </p:nvSpPr>
          <p:spPr>
            <a:xfrm>
              <a:off x="1211179" y="3247726"/>
              <a:ext cx="23456" cy="92291"/>
            </a:xfrm>
            <a:custGeom>
              <a:avLst/>
              <a:gdLst>
                <a:gd name="csX0" fmla="*/ 0 w 23456"/>
                <a:gd name="csY0" fmla="*/ 0 h 92291"/>
                <a:gd name="csX1" fmla="*/ 0 w 23456"/>
                <a:gd name="csY1" fmla="*/ 0 h 92291"/>
                <a:gd name="csX2" fmla="*/ 23456 w 23456"/>
                <a:gd name="csY2" fmla="*/ 27826 h 92291"/>
                <a:gd name="csX3" fmla="*/ 23226 w 23456"/>
                <a:gd name="csY3" fmla="*/ 92292 h 9229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</a:cxnLst>
              <a:rect l="l" t="t" r="r" b="b"/>
              <a:pathLst>
                <a:path w="23456" h="92291">
                  <a:moveTo>
                    <a:pt x="0" y="0"/>
                  </a:moveTo>
                  <a:lnTo>
                    <a:pt x="0" y="0"/>
                  </a:lnTo>
                  <a:cubicBezTo>
                    <a:pt x="15331" y="0"/>
                    <a:pt x="23456" y="12495"/>
                    <a:pt x="23456" y="27826"/>
                  </a:cubicBezTo>
                  <a:lnTo>
                    <a:pt x="23226" y="92292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C8B95C3-2A07-1B6D-D6EA-E628CFAFD0EA}"/>
                </a:ext>
              </a:extLst>
            </p:cNvPr>
            <p:cNvSpPr/>
            <p:nvPr/>
          </p:nvSpPr>
          <p:spPr>
            <a:xfrm>
              <a:off x="1100199" y="3360408"/>
              <a:ext cx="148037" cy="38173"/>
            </a:xfrm>
            <a:custGeom>
              <a:avLst/>
              <a:gdLst>
                <a:gd name="csX0" fmla="*/ 30800 w 148037"/>
                <a:gd name="csY0" fmla="*/ 37867 h 38173"/>
                <a:gd name="csX1" fmla="*/ 13936 w 148037"/>
                <a:gd name="csY1" fmla="*/ 37867 h 38173"/>
                <a:gd name="csX2" fmla="*/ 215 w 148037"/>
                <a:gd name="csY2" fmla="*/ 3833 h 38173"/>
                <a:gd name="csX3" fmla="*/ 2821 w 148037"/>
                <a:gd name="csY3" fmla="*/ 0 h 38173"/>
                <a:gd name="csX4" fmla="*/ 145245 w 148037"/>
                <a:gd name="csY4" fmla="*/ 537 h 38173"/>
                <a:gd name="csX5" fmla="*/ 147851 w 148037"/>
                <a:gd name="csY5" fmla="*/ 4369 h 38173"/>
                <a:gd name="csX6" fmla="*/ 133900 w 148037"/>
                <a:gd name="csY6" fmla="*/ 38174 h 38173"/>
                <a:gd name="csX7" fmla="*/ 117036 w 148037"/>
                <a:gd name="csY7" fmla="*/ 38174 h 3817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148037" h="38173">
                  <a:moveTo>
                    <a:pt x="30800" y="37867"/>
                  </a:moveTo>
                  <a:lnTo>
                    <a:pt x="13936" y="37867"/>
                  </a:lnTo>
                  <a:cubicBezTo>
                    <a:pt x="13936" y="37867"/>
                    <a:pt x="215" y="3833"/>
                    <a:pt x="215" y="3833"/>
                  </a:cubicBezTo>
                  <a:cubicBezTo>
                    <a:pt x="-552" y="1993"/>
                    <a:pt x="828" y="0"/>
                    <a:pt x="2821" y="0"/>
                  </a:cubicBezTo>
                  <a:lnTo>
                    <a:pt x="145245" y="537"/>
                  </a:lnTo>
                  <a:cubicBezTo>
                    <a:pt x="147238" y="537"/>
                    <a:pt x="148541" y="2530"/>
                    <a:pt x="147851" y="4369"/>
                  </a:cubicBezTo>
                  <a:lnTo>
                    <a:pt x="133900" y="38174"/>
                  </a:lnTo>
                  <a:lnTo>
                    <a:pt x="117036" y="38174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BEF9381B-3710-723D-B43F-B2BC1A55D536}"/>
                </a:ext>
              </a:extLst>
            </p:cNvPr>
            <p:cNvSpPr/>
            <p:nvPr/>
          </p:nvSpPr>
          <p:spPr>
            <a:xfrm>
              <a:off x="1130692" y="3382944"/>
              <a:ext cx="86619" cy="86542"/>
            </a:xfrm>
            <a:custGeom>
              <a:avLst/>
              <a:gdLst>
                <a:gd name="csX0" fmla="*/ 86313 w 86619"/>
                <a:gd name="csY0" fmla="*/ 86543 h 86542"/>
                <a:gd name="csX1" fmla="*/ 86619 w 86619"/>
                <a:gd name="csY1" fmla="*/ 2223 h 86542"/>
                <a:gd name="csX2" fmla="*/ 84703 w 86619"/>
                <a:gd name="csY2" fmla="*/ 307 h 86542"/>
                <a:gd name="csX3" fmla="*/ 2223 w 86619"/>
                <a:gd name="csY3" fmla="*/ 0 h 86542"/>
                <a:gd name="csX4" fmla="*/ 307 w 86619"/>
                <a:gd name="csY4" fmla="*/ 1916 h 86542"/>
                <a:gd name="csX5" fmla="*/ 0 w 86619"/>
                <a:gd name="csY5" fmla="*/ 86236 h 8654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86619" h="86542">
                  <a:moveTo>
                    <a:pt x="86313" y="86543"/>
                  </a:moveTo>
                  <a:lnTo>
                    <a:pt x="86619" y="2223"/>
                  </a:lnTo>
                  <a:cubicBezTo>
                    <a:pt x="86619" y="1150"/>
                    <a:pt x="85776" y="307"/>
                    <a:pt x="84703" y="307"/>
                  </a:cubicBezTo>
                  <a:lnTo>
                    <a:pt x="2223" y="0"/>
                  </a:lnTo>
                  <a:cubicBezTo>
                    <a:pt x="1150" y="0"/>
                    <a:pt x="307" y="843"/>
                    <a:pt x="307" y="1916"/>
                  </a:cubicBezTo>
                  <a:lnTo>
                    <a:pt x="0" y="86236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FD2CDA2-9551-36C3-EB1B-A858F7CF028C}"/>
                </a:ext>
              </a:extLst>
            </p:cNvPr>
            <p:cNvSpPr/>
            <p:nvPr/>
          </p:nvSpPr>
          <p:spPr>
            <a:xfrm>
              <a:off x="1100797" y="3165552"/>
              <a:ext cx="290749" cy="170786"/>
            </a:xfrm>
            <a:custGeom>
              <a:avLst/>
              <a:gdLst>
                <a:gd name="csX0" fmla="*/ 0 w 290749"/>
                <a:gd name="csY0" fmla="*/ 63700 h 170786"/>
                <a:gd name="csX1" fmla="*/ 230 w 290749"/>
                <a:gd name="csY1" fmla="*/ 0 h 170786"/>
                <a:gd name="csX2" fmla="*/ 290750 w 290749"/>
                <a:gd name="csY2" fmla="*/ 1150 h 170786"/>
                <a:gd name="csX3" fmla="*/ 290060 w 290749"/>
                <a:gd name="csY3" fmla="*/ 170786 h 170786"/>
                <a:gd name="csX4" fmla="*/ 161357 w 290749"/>
                <a:gd name="csY4" fmla="*/ 170249 h 17078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290749" h="170786">
                  <a:moveTo>
                    <a:pt x="0" y="63700"/>
                  </a:moveTo>
                  <a:lnTo>
                    <a:pt x="230" y="0"/>
                  </a:lnTo>
                  <a:lnTo>
                    <a:pt x="290750" y="1150"/>
                  </a:lnTo>
                  <a:lnTo>
                    <a:pt x="290060" y="170786"/>
                  </a:lnTo>
                  <a:lnTo>
                    <a:pt x="161357" y="170249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D10B7271-7B2D-B279-78DD-9637FCBBACDC}"/>
                </a:ext>
              </a:extLst>
            </p:cNvPr>
            <p:cNvSpPr/>
            <p:nvPr/>
          </p:nvSpPr>
          <p:spPr>
            <a:xfrm>
              <a:off x="1086846" y="3144166"/>
              <a:ext cx="318958" cy="22536"/>
            </a:xfrm>
            <a:custGeom>
              <a:avLst/>
              <a:gdLst>
                <a:gd name="csX0" fmla="*/ 308227 w 318958"/>
                <a:gd name="csY0" fmla="*/ 22536 h 22536"/>
                <a:gd name="csX1" fmla="*/ 10655 w 318958"/>
                <a:gd name="csY1" fmla="*/ 21387 h 22536"/>
                <a:gd name="csX2" fmla="*/ 0 w 318958"/>
                <a:gd name="csY2" fmla="*/ 10655 h 22536"/>
                <a:gd name="csX3" fmla="*/ 0 w 318958"/>
                <a:gd name="csY3" fmla="*/ 10655 h 22536"/>
                <a:gd name="csX4" fmla="*/ 10732 w 318958"/>
                <a:gd name="csY4" fmla="*/ 0 h 22536"/>
                <a:gd name="csX5" fmla="*/ 308304 w 318958"/>
                <a:gd name="csY5" fmla="*/ 1150 h 22536"/>
                <a:gd name="csX6" fmla="*/ 318959 w 318958"/>
                <a:gd name="csY6" fmla="*/ 11881 h 22536"/>
                <a:gd name="csX7" fmla="*/ 318959 w 318958"/>
                <a:gd name="csY7" fmla="*/ 11881 h 22536"/>
                <a:gd name="csX8" fmla="*/ 308227 w 318958"/>
                <a:gd name="csY8" fmla="*/ 22536 h 2253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318958" h="22536">
                  <a:moveTo>
                    <a:pt x="308227" y="22536"/>
                  </a:moveTo>
                  <a:lnTo>
                    <a:pt x="10655" y="21387"/>
                  </a:lnTo>
                  <a:cubicBezTo>
                    <a:pt x="4753" y="21387"/>
                    <a:pt x="0" y="16557"/>
                    <a:pt x="0" y="10655"/>
                  </a:cubicBezTo>
                  <a:lnTo>
                    <a:pt x="0" y="10655"/>
                  </a:lnTo>
                  <a:cubicBezTo>
                    <a:pt x="0" y="4753"/>
                    <a:pt x="4829" y="0"/>
                    <a:pt x="10732" y="0"/>
                  </a:cubicBezTo>
                  <a:lnTo>
                    <a:pt x="308304" y="1150"/>
                  </a:lnTo>
                  <a:cubicBezTo>
                    <a:pt x="314206" y="1150"/>
                    <a:pt x="318959" y="5979"/>
                    <a:pt x="318959" y="11881"/>
                  </a:cubicBezTo>
                  <a:lnTo>
                    <a:pt x="318959" y="11881"/>
                  </a:lnTo>
                  <a:cubicBezTo>
                    <a:pt x="318959" y="17784"/>
                    <a:pt x="314129" y="22536"/>
                    <a:pt x="308227" y="22536"/>
                  </a:cubicBez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302501B5-C05F-EAA6-D3AA-3D98361537D4}"/>
                </a:ext>
              </a:extLst>
            </p:cNvPr>
            <p:cNvSpPr/>
            <p:nvPr/>
          </p:nvSpPr>
          <p:spPr>
            <a:xfrm>
              <a:off x="1264914" y="3225573"/>
              <a:ext cx="103943" cy="52738"/>
            </a:xfrm>
            <a:custGeom>
              <a:avLst/>
              <a:gdLst>
                <a:gd name="csX0" fmla="*/ 0 w 103943"/>
                <a:gd name="csY0" fmla="*/ 47142 h 52738"/>
                <a:gd name="csX1" fmla="*/ 22536 w 103943"/>
                <a:gd name="csY1" fmla="*/ 25526 h 52738"/>
                <a:gd name="csX2" fmla="*/ 51972 w 103943"/>
                <a:gd name="csY2" fmla="*/ 52738 h 52738"/>
                <a:gd name="csX3" fmla="*/ 103943 w 103943"/>
                <a:gd name="csY3" fmla="*/ 0 h 5273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</a:cxnLst>
              <a:rect l="l" t="t" r="r" b="b"/>
              <a:pathLst>
                <a:path w="103943" h="52738">
                  <a:moveTo>
                    <a:pt x="0" y="47142"/>
                  </a:moveTo>
                  <a:lnTo>
                    <a:pt x="22536" y="25526"/>
                  </a:lnTo>
                  <a:lnTo>
                    <a:pt x="51972" y="52738"/>
                  </a:lnTo>
                  <a:lnTo>
                    <a:pt x="103943" y="0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7988F947-E128-2FFC-42C3-6D27F9C97EFF}"/>
              </a:ext>
            </a:extLst>
          </p:cNvPr>
          <p:cNvGrpSpPr/>
          <p:nvPr/>
        </p:nvGrpSpPr>
        <p:grpSpPr>
          <a:xfrm>
            <a:off x="2761128" y="3153490"/>
            <a:ext cx="259774" cy="330334"/>
            <a:chOff x="1114065" y="5527618"/>
            <a:chExt cx="259774" cy="330334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A53B83CE-5B40-A1D2-F2F6-0D08620B033F}"/>
                </a:ext>
              </a:extLst>
            </p:cNvPr>
            <p:cNvSpPr/>
            <p:nvPr/>
          </p:nvSpPr>
          <p:spPr>
            <a:xfrm>
              <a:off x="1114065" y="5527618"/>
              <a:ext cx="214738" cy="293419"/>
            </a:xfrm>
            <a:custGeom>
              <a:avLst/>
              <a:gdLst>
                <a:gd name="csX0" fmla="*/ 29743 w 214738"/>
                <a:gd name="csY0" fmla="*/ 293419 h 293419"/>
                <a:gd name="csX1" fmla="*/ 0 w 214738"/>
                <a:gd name="csY1" fmla="*/ 293419 h 293419"/>
                <a:gd name="csX2" fmla="*/ 0 w 214738"/>
                <a:gd name="csY2" fmla="*/ 0 h 293419"/>
                <a:gd name="csX3" fmla="*/ 214739 w 214738"/>
                <a:gd name="csY3" fmla="*/ 0 h 293419"/>
                <a:gd name="csX4" fmla="*/ 214739 w 214738"/>
                <a:gd name="csY4" fmla="*/ 28266 h 29341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214738" h="293419">
                  <a:moveTo>
                    <a:pt x="29743" y="293419"/>
                  </a:moveTo>
                  <a:lnTo>
                    <a:pt x="0" y="293419"/>
                  </a:lnTo>
                  <a:lnTo>
                    <a:pt x="0" y="0"/>
                  </a:lnTo>
                  <a:lnTo>
                    <a:pt x="214739" y="0"/>
                  </a:lnTo>
                  <a:lnTo>
                    <a:pt x="214739" y="28266"/>
                  </a:lnTo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3CB2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92" name="Graphic 23">
              <a:extLst>
                <a:ext uri="{FF2B5EF4-FFF2-40B4-BE49-F238E27FC236}">
                  <a16:creationId xmlns:a16="http://schemas.microsoft.com/office/drawing/2014/main" id="{EC83909F-4677-385C-BAFD-6AA4C7F6F07B}"/>
                </a:ext>
              </a:extLst>
            </p:cNvPr>
            <p:cNvGrpSpPr/>
            <p:nvPr/>
          </p:nvGrpSpPr>
          <p:grpSpPr>
            <a:xfrm>
              <a:off x="1159101" y="5564533"/>
              <a:ext cx="214738" cy="293419"/>
              <a:chOff x="1159101" y="5564533"/>
              <a:chExt cx="214738" cy="293419"/>
            </a:xfrm>
            <a:no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125566F4-55CF-2601-A7D4-D3E53167409C}"/>
                  </a:ext>
                </a:extLst>
              </p:cNvPr>
              <p:cNvSpPr/>
              <p:nvPr/>
            </p:nvSpPr>
            <p:spPr>
              <a:xfrm>
                <a:off x="1159101" y="5564533"/>
                <a:ext cx="214738" cy="293419"/>
              </a:xfrm>
              <a:prstGeom prst="rect">
                <a:avLst/>
              </a:prstGeom>
              <a:noFill/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145C1E33-A11B-D6D6-9654-6D8080532892}"/>
                  </a:ext>
                </a:extLst>
              </p:cNvPr>
              <p:cNvSpPr/>
              <p:nvPr/>
            </p:nvSpPr>
            <p:spPr>
              <a:xfrm>
                <a:off x="1202766" y="5620116"/>
                <a:ext cx="127408" cy="10547"/>
              </a:xfrm>
              <a:custGeom>
                <a:avLst/>
                <a:gdLst>
                  <a:gd name="csX0" fmla="*/ 0 w 127408"/>
                  <a:gd name="csY0" fmla="*/ 0 h 10547"/>
                  <a:gd name="csX1" fmla="*/ 127409 w 127408"/>
                  <a:gd name="csY1" fmla="*/ 0 h 1054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127408" h="10547">
                    <a:moveTo>
                      <a:pt x="0" y="0"/>
                    </a:moveTo>
                    <a:lnTo>
                      <a:pt x="127409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461EEEC1-54F9-687A-4F8C-53933BD1C622}"/>
                  </a:ext>
                </a:extLst>
              </p:cNvPr>
              <p:cNvSpPr/>
              <p:nvPr/>
            </p:nvSpPr>
            <p:spPr>
              <a:xfrm>
                <a:off x="1202766" y="5666206"/>
                <a:ext cx="127408" cy="10547"/>
              </a:xfrm>
              <a:custGeom>
                <a:avLst/>
                <a:gdLst>
                  <a:gd name="csX0" fmla="*/ 0 w 127408"/>
                  <a:gd name="csY0" fmla="*/ 0 h 10547"/>
                  <a:gd name="csX1" fmla="*/ 127409 w 127408"/>
                  <a:gd name="csY1" fmla="*/ 0 h 1054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127408" h="10547">
                    <a:moveTo>
                      <a:pt x="0" y="0"/>
                    </a:moveTo>
                    <a:lnTo>
                      <a:pt x="127409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E5E1201-0781-CA57-7AE0-ED0FB86C235D}"/>
                  </a:ext>
                </a:extLst>
              </p:cNvPr>
              <p:cNvSpPr/>
              <p:nvPr/>
            </p:nvSpPr>
            <p:spPr>
              <a:xfrm>
                <a:off x="1202766" y="5711242"/>
                <a:ext cx="127408" cy="10547"/>
              </a:xfrm>
              <a:custGeom>
                <a:avLst/>
                <a:gdLst>
                  <a:gd name="csX0" fmla="*/ 0 w 127408"/>
                  <a:gd name="csY0" fmla="*/ 0 h 10547"/>
                  <a:gd name="csX1" fmla="*/ 127409 w 127408"/>
                  <a:gd name="csY1" fmla="*/ 0 h 1054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127408" h="10547">
                    <a:moveTo>
                      <a:pt x="0" y="0"/>
                    </a:moveTo>
                    <a:lnTo>
                      <a:pt x="127409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61F1208E-0CB1-9E15-BCAB-E12CB742214C}"/>
                  </a:ext>
                </a:extLst>
              </p:cNvPr>
              <p:cNvSpPr/>
              <p:nvPr/>
            </p:nvSpPr>
            <p:spPr>
              <a:xfrm>
                <a:off x="1202766" y="5756278"/>
                <a:ext cx="127408" cy="10547"/>
              </a:xfrm>
              <a:custGeom>
                <a:avLst/>
                <a:gdLst>
                  <a:gd name="csX0" fmla="*/ 0 w 127408"/>
                  <a:gd name="csY0" fmla="*/ 0 h 10547"/>
                  <a:gd name="csX1" fmla="*/ 127409 w 127408"/>
                  <a:gd name="csY1" fmla="*/ 0 h 1054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127408" h="10547">
                    <a:moveTo>
                      <a:pt x="0" y="0"/>
                    </a:moveTo>
                    <a:lnTo>
                      <a:pt x="127409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EAE35B23-4D9A-A940-2244-D99DC49A5266}"/>
                  </a:ext>
                </a:extLst>
              </p:cNvPr>
              <p:cNvSpPr/>
              <p:nvPr/>
            </p:nvSpPr>
            <p:spPr>
              <a:xfrm>
                <a:off x="1202766" y="5801314"/>
                <a:ext cx="127408" cy="10547"/>
              </a:xfrm>
              <a:custGeom>
                <a:avLst/>
                <a:gdLst>
                  <a:gd name="csX0" fmla="*/ 0 w 127408"/>
                  <a:gd name="csY0" fmla="*/ 0 h 10547"/>
                  <a:gd name="csX1" fmla="*/ 127409 w 127408"/>
                  <a:gd name="csY1" fmla="*/ 0 h 1054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127408" h="10547">
                    <a:moveTo>
                      <a:pt x="0" y="0"/>
                    </a:moveTo>
                    <a:lnTo>
                      <a:pt x="127409" y="0"/>
                    </a:lnTo>
                  </a:path>
                </a:pathLst>
              </a:custGeom>
              <a:ln w="12700" cap="rnd">
                <a:solidFill>
                  <a:schemeClr val="accent6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3CB28C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9" name="Oval 98">
            <a:extLst>
              <a:ext uri="{FF2B5EF4-FFF2-40B4-BE49-F238E27FC236}">
                <a16:creationId xmlns:a16="http://schemas.microsoft.com/office/drawing/2014/main" id="{95AB584C-9A96-94CF-89D3-2D2BC892C544}"/>
              </a:ext>
            </a:extLst>
          </p:cNvPr>
          <p:cNvSpPr/>
          <p:nvPr/>
        </p:nvSpPr>
        <p:spPr>
          <a:xfrm>
            <a:off x="2616353" y="5314482"/>
            <a:ext cx="594360" cy="5943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C827C22B-A139-EAC8-EEA2-29E126F98DF7}"/>
              </a:ext>
            </a:extLst>
          </p:cNvPr>
          <p:cNvGrpSpPr/>
          <p:nvPr/>
        </p:nvGrpSpPr>
        <p:grpSpPr>
          <a:xfrm>
            <a:off x="2697060" y="5380433"/>
            <a:ext cx="432945" cy="462458"/>
            <a:chOff x="5643359" y="4055248"/>
            <a:chExt cx="432945" cy="462458"/>
          </a:xfrm>
        </p:grpSpPr>
        <p:grpSp>
          <p:nvGrpSpPr>
            <p:cNvPr id="101" name="Graphic 80">
              <a:extLst>
                <a:ext uri="{FF2B5EF4-FFF2-40B4-BE49-F238E27FC236}">
                  <a16:creationId xmlns:a16="http://schemas.microsoft.com/office/drawing/2014/main" id="{1F62E70A-9DED-B399-3FE3-0F56620A5AE9}"/>
                </a:ext>
              </a:extLst>
            </p:cNvPr>
            <p:cNvGrpSpPr/>
            <p:nvPr/>
          </p:nvGrpSpPr>
          <p:grpSpPr>
            <a:xfrm>
              <a:off x="5643359" y="4235339"/>
              <a:ext cx="432945" cy="282367"/>
              <a:chOff x="5643359" y="4235339"/>
              <a:chExt cx="432945" cy="282367"/>
            </a:xfrm>
            <a:noFill/>
          </p:grpSpPr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4BDBD726-FFC7-E5E6-0B3B-112BF751D524}"/>
                  </a:ext>
                </a:extLst>
              </p:cNvPr>
              <p:cNvSpPr/>
              <p:nvPr/>
            </p:nvSpPr>
            <p:spPr>
              <a:xfrm>
                <a:off x="5643359" y="4235339"/>
                <a:ext cx="188153" cy="161399"/>
              </a:xfrm>
              <a:custGeom>
                <a:avLst/>
                <a:gdLst>
                  <a:gd name="csX0" fmla="*/ 113191 w 188153"/>
                  <a:gd name="csY0" fmla="*/ 33618 h 161399"/>
                  <a:gd name="csX1" fmla="*/ 98999 w 188153"/>
                  <a:gd name="csY1" fmla="*/ 4662 h 161399"/>
                  <a:gd name="csX2" fmla="*/ 76615 w 188153"/>
                  <a:gd name="csY2" fmla="*/ 9711 h 161399"/>
                  <a:gd name="csX3" fmla="*/ 12703 w 188153"/>
                  <a:gd name="csY3" fmla="*/ 122868 h 161399"/>
                  <a:gd name="csX4" fmla="*/ 6416 w 188153"/>
                  <a:gd name="csY4" fmla="*/ 132488 h 161399"/>
                  <a:gd name="csX5" fmla="*/ 9559 w 188153"/>
                  <a:gd name="csY5" fmla="*/ 158015 h 161399"/>
                  <a:gd name="csX6" fmla="*/ 39849 w 188153"/>
                  <a:gd name="csY6" fmla="*/ 151633 h 161399"/>
                  <a:gd name="csX7" fmla="*/ 98618 w 188153"/>
                  <a:gd name="csY7" fmla="*/ 51049 h 161399"/>
                  <a:gd name="csX8" fmla="*/ 129193 w 188153"/>
                  <a:gd name="csY8" fmla="*/ 33523 h 161399"/>
                  <a:gd name="csX9" fmla="*/ 170627 w 188153"/>
                  <a:gd name="csY9" fmla="*/ 33523 h 161399"/>
                  <a:gd name="csX10" fmla="*/ 188153 w 188153"/>
                  <a:gd name="csY10" fmla="*/ 38381 h 16139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188153" h="161399">
                    <a:moveTo>
                      <a:pt x="113191" y="33618"/>
                    </a:moveTo>
                    <a:cubicBezTo>
                      <a:pt x="111953" y="22284"/>
                      <a:pt x="110429" y="11616"/>
                      <a:pt x="98999" y="4662"/>
                    </a:cubicBezTo>
                    <a:cubicBezTo>
                      <a:pt x="87664" y="-2100"/>
                      <a:pt x="83569" y="-2386"/>
                      <a:pt x="76615" y="9711"/>
                    </a:cubicBezTo>
                    <a:cubicBezTo>
                      <a:pt x="55089" y="47334"/>
                      <a:pt x="34039" y="85149"/>
                      <a:pt x="12703" y="122868"/>
                    </a:cubicBezTo>
                    <a:cubicBezTo>
                      <a:pt x="10798" y="126201"/>
                      <a:pt x="8416" y="129249"/>
                      <a:pt x="6416" y="132488"/>
                    </a:cubicBezTo>
                    <a:cubicBezTo>
                      <a:pt x="-2823" y="147537"/>
                      <a:pt x="-2347" y="151062"/>
                      <a:pt x="9559" y="158015"/>
                    </a:cubicBezTo>
                    <a:cubicBezTo>
                      <a:pt x="20513" y="164301"/>
                      <a:pt x="33943" y="161634"/>
                      <a:pt x="39849" y="151633"/>
                    </a:cubicBezTo>
                    <a:cubicBezTo>
                      <a:pt x="59566" y="118200"/>
                      <a:pt x="79663" y="84958"/>
                      <a:pt x="98618" y="51049"/>
                    </a:cubicBezTo>
                    <a:cubicBezTo>
                      <a:pt x="105762" y="38381"/>
                      <a:pt x="114811" y="32761"/>
                      <a:pt x="129193" y="33523"/>
                    </a:cubicBezTo>
                    <a:cubicBezTo>
                      <a:pt x="143005" y="34190"/>
                      <a:pt x="156816" y="33809"/>
                      <a:pt x="170627" y="33523"/>
                    </a:cubicBezTo>
                    <a:cubicBezTo>
                      <a:pt x="177009" y="33523"/>
                      <a:pt x="183200" y="33618"/>
                      <a:pt x="188153" y="38381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30B4412B-DF69-C367-594B-A1E5FB4762C4}"/>
                  </a:ext>
                </a:extLst>
              </p:cNvPr>
              <p:cNvSpPr/>
              <p:nvPr/>
            </p:nvSpPr>
            <p:spPr>
              <a:xfrm>
                <a:off x="5808755" y="4258765"/>
                <a:ext cx="267549" cy="174402"/>
              </a:xfrm>
              <a:custGeom>
                <a:avLst/>
                <a:gdLst>
                  <a:gd name="csX0" fmla="*/ 166299 w 267549"/>
                  <a:gd name="csY0" fmla="*/ 24575 h 174402"/>
                  <a:gd name="csX1" fmla="*/ 219924 w 267549"/>
                  <a:gd name="csY1" fmla="*/ 128492 h 174402"/>
                  <a:gd name="csX2" fmla="*/ 247547 w 267549"/>
                  <a:gd name="csY2" fmla="*/ 140399 h 174402"/>
                  <a:gd name="csX3" fmla="*/ 267549 w 267549"/>
                  <a:gd name="csY3" fmla="*/ 128968 h 174402"/>
                  <a:gd name="csX4" fmla="*/ 197255 w 267549"/>
                  <a:gd name="csY4" fmla="*/ 0 h 174402"/>
                  <a:gd name="csX5" fmla="*/ 171347 w 267549"/>
                  <a:gd name="csY5" fmla="*/ 16764 h 174402"/>
                  <a:gd name="csX6" fmla="*/ 153630 w 267549"/>
                  <a:gd name="csY6" fmla="*/ 22955 h 174402"/>
                  <a:gd name="csX7" fmla="*/ 65905 w 267549"/>
                  <a:gd name="csY7" fmla="*/ 11049 h 174402"/>
                  <a:gd name="csX8" fmla="*/ 14470 w 267549"/>
                  <a:gd name="csY8" fmla="*/ 24193 h 174402"/>
                  <a:gd name="csX9" fmla="*/ 5612 w 267549"/>
                  <a:gd name="csY9" fmla="*/ 43815 h 174402"/>
                  <a:gd name="csX10" fmla="*/ 9327 w 267549"/>
                  <a:gd name="csY10" fmla="*/ 91154 h 174402"/>
                  <a:gd name="csX11" fmla="*/ 41997 w 267549"/>
                  <a:gd name="csY11" fmla="*/ 74009 h 174402"/>
                  <a:gd name="csX12" fmla="*/ 85336 w 267549"/>
                  <a:gd name="csY12" fmla="*/ 68770 h 174402"/>
                  <a:gd name="csX13" fmla="*/ 110387 w 267549"/>
                  <a:gd name="csY13" fmla="*/ 101251 h 174402"/>
                  <a:gd name="csX14" fmla="*/ 166299 w 267549"/>
                  <a:gd name="csY14" fmla="*/ 161734 h 174402"/>
                  <a:gd name="csX15" fmla="*/ 174395 w 267549"/>
                  <a:gd name="csY15" fmla="*/ 174403 h 17440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267549" h="174402">
                    <a:moveTo>
                      <a:pt x="166299" y="24575"/>
                    </a:moveTo>
                    <a:cubicBezTo>
                      <a:pt x="184396" y="59150"/>
                      <a:pt x="203732" y="93059"/>
                      <a:pt x="219924" y="128492"/>
                    </a:cubicBezTo>
                    <a:cubicBezTo>
                      <a:pt x="226782" y="143447"/>
                      <a:pt x="237069" y="142208"/>
                      <a:pt x="247547" y="140399"/>
                    </a:cubicBezTo>
                    <a:cubicBezTo>
                      <a:pt x="253929" y="139351"/>
                      <a:pt x="262406" y="138684"/>
                      <a:pt x="267549" y="128968"/>
                    </a:cubicBezTo>
                    <a:cubicBezTo>
                      <a:pt x="245356" y="86392"/>
                      <a:pt x="223163" y="41910"/>
                      <a:pt x="197255" y="0"/>
                    </a:cubicBezTo>
                    <a:cubicBezTo>
                      <a:pt x="184491" y="2095"/>
                      <a:pt x="177443" y="9239"/>
                      <a:pt x="171347" y="16764"/>
                    </a:cubicBezTo>
                    <a:cubicBezTo>
                      <a:pt x="166299" y="22860"/>
                      <a:pt x="160393" y="23908"/>
                      <a:pt x="153630" y="22955"/>
                    </a:cubicBezTo>
                    <a:cubicBezTo>
                      <a:pt x="124389" y="18859"/>
                      <a:pt x="95242" y="12478"/>
                      <a:pt x="65905" y="11049"/>
                    </a:cubicBezTo>
                    <a:cubicBezTo>
                      <a:pt x="48665" y="10192"/>
                      <a:pt x="29329" y="8191"/>
                      <a:pt x="14470" y="24193"/>
                    </a:cubicBezTo>
                    <a:cubicBezTo>
                      <a:pt x="8660" y="30480"/>
                      <a:pt x="6564" y="36957"/>
                      <a:pt x="5612" y="43815"/>
                    </a:cubicBezTo>
                    <a:cubicBezTo>
                      <a:pt x="3516" y="60103"/>
                      <a:pt x="-7818" y="82963"/>
                      <a:pt x="9327" y="91154"/>
                    </a:cubicBezTo>
                    <a:cubicBezTo>
                      <a:pt x="26472" y="99346"/>
                      <a:pt x="33996" y="83534"/>
                      <a:pt x="41997" y="74009"/>
                    </a:cubicBezTo>
                    <a:cubicBezTo>
                      <a:pt x="58666" y="54102"/>
                      <a:pt x="65334" y="54388"/>
                      <a:pt x="85336" y="68770"/>
                    </a:cubicBezTo>
                    <a:cubicBezTo>
                      <a:pt x="97433" y="77533"/>
                      <a:pt x="100671" y="91345"/>
                      <a:pt x="110387" y="101251"/>
                    </a:cubicBezTo>
                    <a:cubicBezTo>
                      <a:pt x="129532" y="120872"/>
                      <a:pt x="147915" y="141351"/>
                      <a:pt x="166299" y="161734"/>
                    </a:cubicBezTo>
                    <a:cubicBezTo>
                      <a:pt x="169632" y="165354"/>
                      <a:pt x="171728" y="170116"/>
                      <a:pt x="174395" y="174403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FF5980F0-48ED-ECC1-4221-9061DA912DF6}"/>
                  </a:ext>
                </a:extLst>
              </p:cNvPr>
              <p:cNvSpPr/>
              <p:nvPr/>
            </p:nvSpPr>
            <p:spPr>
              <a:xfrm>
                <a:off x="5773358" y="4409260"/>
                <a:ext cx="148904" cy="89766"/>
              </a:xfrm>
              <a:custGeom>
                <a:avLst/>
                <a:gdLst>
                  <a:gd name="csX0" fmla="*/ 88444 w 148904"/>
                  <a:gd name="csY0" fmla="*/ 0 h 89766"/>
                  <a:gd name="csX1" fmla="*/ 141117 w 148904"/>
                  <a:gd name="csY1" fmla="*/ 55721 h 89766"/>
                  <a:gd name="csX2" fmla="*/ 131402 w 148904"/>
                  <a:gd name="csY2" fmla="*/ 89059 h 89766"/>
                  <a:gd name="csX3" fmla="*/ 118543 w 148904"/>
                  <a:gd name="csY3" fmla="*/ 84773 h 89766"/>
                  <a:gd name="csX4" fmla="*/ 72442 w 148904"/>
                  <a:gd name="csY4" fmla="*/ 32004 h 89766"/>
                  <a:gd name="csX5" fmla="*/ 59774 w 148904"/>
                  <a:gd name="csY5" fmla="*/ 23908 h 89766"/>
                  <a:gd name="csX6" fmla="*/ 22626 w 148904"/>
                  <a:gd name="csY6" fmla="*/ 23622 h 89766"/>
                  <a:gd name="csX7" fmla="*/ 1195 w 148904"/>
                  <a:gd name="csY7" fmla="*/ 52864 h 89766"/>
                  <a:gd name="csX8" fmla="*/ 34247 w 148904"/>
                  <a:gd name="csY8" fmla="*/ 84582 h 8976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48904" h="89766">
                    <a:moveTo>
                      <a:pt x="88444" y="0"/>
                    </a:moveTo>
                    <a:cubicBezTo>
                      <a:pt x="105970" y="18574"/>
                      <a:pt x="123305" y="37433"/>
                      <a:pt x="141117" y="55721"/>
                    </a:cubicBezTo>
                    <a:cubicBezTo>
                      <a:pt x="154357" y="69342"/>
                      <a:pt x="150452" y="81153"/>
                      <a:pt x="131402" y="89059"/>
                    </a:cubicBezTo>
                    <a:cubicBezTo>
                      <a:pt x="127401" y="90678"/>
                      <a:pt x="122543" y="89630"/>
                      <a:pt x="118543" y="84773"/>
                    </a:cubicBezTo>
                    <a:cubicBezTo>
                      <a:pt x="103684" y="66770"/>
                      <a:pt x="88063" y="49340"/>
                      <a:pt x="72442" y="32004"/>
                    </a:cubicBezTo>
                    <a:cubicBezTo>
                      <a:pt x="69108" y="28289"/>
                      <a:pt x="66441" y="23146"/>
                      <a:pt x="59774" y="23908"/>
                    </a:cubicBezTo>
                    <a:cubicBezTo>
                      <a:pt x="47582" y="25241"/>
                      <a:pt x="36437" y="5810"/>
                      <a:pt x="22626" y="23622"/>
                    </a:cubicBezTo>
                    <a:cubicBezTo>
                      <a:pt x="15197" y="33242"/>
                      <a:pt x="5386" y="41624"/>
                      <a:pt x="1195" y="52864"/>
                    </a:cubicBezTo>
                    <a:cubicBezTo>
                      <a:pt x="-5092" y="69628"/>
                      <a:pt x="14530" y="87630"/>
                      <a:pt x="34247" y="84582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BF6E14FF-5650-9198-E7D2-44E7DCB13CE7}"/>
                  </a:ext>
                </a:extLst>
              </p:cNvPr>
              <p:cNvSpPr/>
              <p:nvPr/>
            </p:nvSpPr>
            <p:spPr>
              <a:xfrm>
                <a:off x="5892091" y="4385352"/>
                <a:ext cx="62131" cy="92583"/>
              </a:xfrm>
              <a:custGeom>
                <a:avLst/>
                <a:gdLst>
                  <a:gd name="csX0" fmla="*/ 0 w 62131"/>
                  <a:gd name="csY0" fmla="*/ 0 h 92583"/>
                  <a:gd name="csX1" fmla="*/ 52578 w 62131"/>
                  <a:gd name="csY1" fmla="*/ 57436 h 92583"/>
                  <a:gd name="csX2" fmla="*/ 60484 w 62131"/>
                  <a:gd name="csY2" fmla="*/ 76581 h 92583"/>
                  <a:gd name="csX3" fmla="*/ 39814 w 62131"/>
                  <a:gd name="csY3" fmla="*/ 91059 h 92583"/>
                  <a:gd name="csX4" fmla="*/ 31813 w 62131"/>
                  <a:gd name="csY4" fmla="*/ 92583 h 9258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62131" h="92583">
                    <a:moveTo>
                      <a:pt x="0" y="0"/>
                    </a:moveTo>
                    <a:cubicBezTo>
                      <a:pt x="17526" y="19145"/>
                      <a:pt x="35052" y="38291"/>
                      <a:pt x="52578" y="57436"/>
                    </a:cubicBezTo>
                    <a:cubicBezTo>
                      <a:pt x="57531" y="62865"/>
                      <a:pt x="65627" y="67151"/>
                      <a:pt x="60484" y="76581"/>
                    </a:cubicBezTo>
                    <a:cubicBezTo>
                      <a:pt x="56007" y="84677"/>
                      <a:pt x="50863" y="92012"/>
                      <a:pt x="39814" y="91059"/>
                    </a:cubicBezTo>
                    <a:cubicBezTo>
                      <a:pt x="37243" y="90869"/>
                      <a:pt x="34480" y="92012"/>
                      <a:pt x="31813" y="92583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070B5B61-F84E-D851-70A8-F086881A6168}"/>
                  </a:ext>
                </a:extLst>
              </p:cNvPr>
              <p:cNvSpPr/>
              <p:nvPr/>
            </p:nvSpPr>
            <p:spPr>
              <a:xfrm>
                <a:off x="5716688" y="4402761"/>
                <a:ext cx="40624" cy="55959"/>
              </a:xfrm>
              <a:custGeom>
                <a:avLst/>
                <a:gdLst>
                  <a:gd name="csX0" fmla="*/ 40625 w 40624"/>
                  <a:gd name="csY0" fmla="*/ 15262 h 55959"/>
                  <a:gd name="csX1" fmla="*/ 12812 w 40624"/>
                  <a:gd name="csY1" fmla="*/ 1832 h 55959"/>
                  <a:gd name="csX2" fmla="*/ 48 w 40624"/>
                  <a:gd name="csY2" fmla="*/ 33646 h 55959"/>
                  <a:gd name="csX3" fmla="*/ 20813 w 40624"/>
                  <a:gd name="csY3" fmla="*/ 55934 h 5595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40624" h="55959">
                    <a:moveTo>
                      <a:pt x="40625" y="15262"/>
                    </a:moveTo>
                    <a:cubicBezTo>
                      <a:pt x="32719" y="7928"/>
                      <a:pt x="27004" y="-4740"/>
                      <a:pt x="12812" y="1832"/>
                    </a:cubicBezTo>
                    <a:cubicBezTo>
                      <a:pt x="-1000" y="8214"/>
                      <a:pt x="-47" y="21263"/>
                      <a:pt x="48" y="33646"/>
                    </a:cubicBezTo>
                    <a:cubicBezTo>
                      <a:pt x="48" y="50219"/>
                      <a:pt x="5954" y="56410"/>
                      <a:pt x="20813" y="55934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CB4EC273-18EE-40EB-869C-E2C12BE9F56C}"/>
                  </a:ext>
                </a:extLst>
              </p:cNvPr>
              <p:cNvSpPr/>
              <p:nvPr/>
            </p:nvSpPr>
            <p:spPr>
              <a:xfrm>
                <a:off x="5825130" y="4461934"/>
                <a:ext cx="68580" cy="54298"/>
              </a:xfrm>
              <a:custGeom>
                <a:avLst/>
                <a:gdLst>
                  <a:gd name="csX0" fmla="*/ 0 w 68580"/>
                  <a:gd name="csY0" fmla="*/ 0 h 54298"/>
                  <a:gd name="csX1" fmla="*/ 15716 w 68580"/>
                  <a:gd name="csY1" fmla="*/ 20765 h 54298"/>
                  <a:gd name="csX2" fmla="*/ 40195 w 68580"/>
                  <a:gd name="csY2" fmla="*/ 53340 h 54298"/>
                  <a:gd name="csX3" fmla="*/ 68580 w 68580"/>
                  <a:gd name="csY3" fmla="*/ 36671 h 5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68580" h="54298">
                    <a:moveTo>
                      <a:pt x="0" y="0"/>
                    </a:moveTo>
                    <a:cubicBezTo>
                      <a:pt x="8763" y="4286"/>
                      <a:pt x="14859" y="11335"/>
                      <a:pt x="15716" y="20765"/>
                    </a:cubicBezTo>
                    <a:cubicBezTo>
                      <a:pt x="17240" y="37147"/>
                      <a:pt x="27242" y="48577"/>
                      <a:pt x="40195" y="53340"/>
                    </a:cubicBezTo>
                    <a:cubicBezTo>
                      <a:pt x="52006" y="57721"/>
                      <a:pt x="61246" y="46196"/>
                      <a:pt x="68580" y="36671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534C068D-47F3-2A82-4337-228152115073}"/>
                  </a:ext>
                </a:extLst>
              </p:cNvPr>
              <p:cNvSpPr/>
              <p:nvPr/>
            </p:nvSpPr>
            <p:spPr>
              <a:xfrm>
                <a:off x="5955813" y="4399735"/>
                <a:ext cx="76580" cy="55816"/>
              </a:xfrm>
              <a:custGeom>
                <a:avLst/>
                <a:gdLst>
                  <a:gd name="csX0" fmla="*/ 76581 w 76580"/>
                  <a:gd name="csY0" fmla="*/ 0 h 55816"/>
                  <a:gd name="csX1" fmla="*/ 46291 w 76580"/>
                  <a:gd name="csY1" fmla="*/ 23908 h 55816"/>
                  <a:gd name="csX2" fmla="*/ 18574 w 76580"/>
                  <a:gd name="csY2" fmla="*/ 45911 h 55816"/>
                  <a:gd name="csX3" fmla="*/ 0 w 76580"/>
                  <a:gd name="csY3" fmla="*/ 55817 h 5581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76580" h="55816">
                    <a:moveTo>
                      <a:pt x="76581" y="0"/>
                    </a:moveTo>
                    <a:cubicBezTo>
                      <a:pt x="68008" y="9906"/>
                      <a:pt x="57721" y="17621"/>
                      <a:pt x="46291" y="23908"/>
                    </a:cubicBezTo>
                    <a:cubicBezTo>
                      <a:pt x="35909" y="29718"/>
                      <a:pt x="25336" y="34481"/>
                      <a:pt x="18574" y="45911"/>
                    </a:cubicBezTo>
                    <a:cubicBezTo>
                      <a:pt x="15526" y="51054"/>
                      <a:pt x="6382" y="52578"/>
                      <a:pt x="0" y="55817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3B038FA5-3918-E318-B990-29203372BAAD}"/>
                  </a:ext>
                </a:extLst>
              </p:cNvPr>
              <p:cNvSpPr/>
              <p:nvPr/>
            </p:nvSpPr>
            <p:spPr>
              <a:xfrm>
                <a:off x="5808601" y="4436407"/>
                <a:ext cx="43580" cy="81300"/>
              </a:xfrm>
              <a:custGeom>
                <a:avLst/>
                <a:gdLst>
                  <a:gd name="csX0" fmla="*/ 19673 w 43580"/>
                  <a:gd name="csY0" fmla="*/ 0 h 81300"/>
                  <a:gd name="csX1" fmla="*/ 7100 w 43580"/>
                  <a:gd name="csY1" fmla="*/ 32004 h 81300"/>
                  <a:gd name="csX2" fmla="*/ 8529 w 43580"/>
                  <a:gd name="csY2" fmla="*/ 66961 h 81300"/>
                  <a:gd name="csX3" fmla="*/ 43581 w 43580"/>
                  <a:gd name="csY3" fmla="*/ 74962 h 8130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43580" h="81300">
                    <a:moveTo>
                      <a:pt x="19673" y="0"/>
                    </a:moveTo>
                    <a:cubicBezTo>
                      <a:pt x="19863" y="12382"/>
                      <a:pt x="16434" y="23050"/>
                      <a:pt x="7100" y="32004"/>
                    </a:cubicBezTo>
                    <a:cubicBezTo>
                      <a:pt x="-3092" y="41910"/>
                      <a:pt x="-2044" y="54293"/>
                      <a:pt x="8529" y="66961"/>
                    </a:cubicBezTo>
                    <a:cubicBezTo>
                      <a:pt x="22530" y="83725"/>
                      <a:pt x="27960" y="84963"/>
                      <a:pt x="43581" y="74962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EE910B40-E950-83E4-480C-09C489C6A426}"/>
                  </a:ext>
                </a:extLst>
              </p:cNvPr>
              <p:cNvSpPr/>
              <p:nvPr/>
            </p:nvSpPr>
            <p:spPr>
              <a:xfrm>
                <a:off x="5738721" y="4411993"/>
                <a:ext cx="52881" cy="71829"/>
              </a:xfrm>
              <a:custGeom>
                <a:avLst/>
                <a:gdLst>
                  <a:gd name="csX0" fmla="*/ 52882 w 52881"/>
                  <a:gd name="csY0" fmla="*/ 22032 h 71829"/>
                  <a:gd name="csX1" fmla="*/ 11543 w 52881"/>
                  <a:gd name="csY1" fmla="*/ 18127 h 71829"/>
                  <a:gd name="csX2" fmla="*/ 12686 w 52881"/>
                  <a:gd name="csY2" fmla="*/ 64514 h 71829"/>
                  <a:gd name="csX3" fmla="*/ 35356 w 52881"/>
                  <a:gd name="csY3" fmla="*/ 68228 h 7182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52881" h="71829">
                    <a:moveTo>
                      <a:pt x="52882" y="22032"/>
                    </a:moveTo>
                    <a:cubicBezTo>
                      <a:pt x="37642" y="-6162"/>
                      <a:pt x="29545" y="-7114"/>
                      <a:pt x="11543" y="18127"/>
                    </a:cubicBezTo>
                    <a:cubicBezTo>
                      <a:pt x="-4173" y="40130"/>
                      <a:pt x="-3887" y="44225"/>
                      <a:pt x="12686" y="64514"/>
                    </a:cubicBezTo>
                    <a:cubicBezTo>
                      <a:pt x="20306" y="73848"/>
                      <a:pt x="26783" y="73277"/>
                      <a:pt x="35356" y="68228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73FF102F-33F0-8338-DBF5-F86E55FEB03A}"/>
                  </a:ext>
                </a:extLst>
              </p:cNvPr>
              <p:cNvSpPr/>
              <p:nvPr/>
            </p:nvSpPr>
            <p:spPr>
              <a:xfrm>
                <a:off x="5909617" y="4339039"/>
                <a:ext cx="57435" cy="14874"/>
              </a:xfrm>
              <a:custGeom>
                <a:avLst/>
                <a:gdLst>
                  <a:gd name="csX0" fmla="*/ 0 w 57435"/>
                  <a:gd name="csY0" fmla="*/ 118 h 14874"/>
                  <a:gd name="csX1" fmla="*/ 17812 w 57435"/>
                  <a:gd name="csY1" fmla="*/ 6118 h 14874"/>
                  <a:gd name="csX2" fmla="*/ 57436 w 57435"/>
                  <a:gd name="csY2" fmla="*/ 4880 h 1487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57435" h="14874">
                    <a:moveTo>
                      <a:pt x="0" y="118"/>
                    </a:moveTo>
                    <a:cubicBezTo>
                      <a:pt x="6858" y="-549"/>
                      <a:pt x="11906" y="1642"/>
                      <a:pt x="17812" y="6118"/>
                    </a:cubicBezTo>
                    <a:cubicBezTo>
                      <a:pt x="34004" y="18406"/>
                      <a:pt x="38767" y="17548"/>
                      <a:pt x="57436" y="4880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B58E162B-3ED1-0DDC-6D1C-DA3FB85CA8C7}"/>
                  </a:ext>
                </a:extLst>
              </p:cNvPr>
              <p:cNvSpPr/>
              <p:nvPr/>
            </p:nvSpPr>
            <p:spPr>
              <a:xfrm>
                <a:off x="5684827" y="4388591"/>
                <a:ext cx="33527" cy="22288"/>
              </a:xfrm>
              <a:custGeom>
                <a:avLst/>
                <a:gdLst>
                  <a:gd name="csX0" fmla="*/ 0 w 33527"/>
                  <a:gd name="csY0" fmla="*/ 0 h 22288"/>
                  <a:gd name="csX1" fmla="*/ 33528 w 33527"/>
                  <a:gd name="csY1" fmla="*/ 22289 h 2228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33527" h="22288">
                    <a:moveTo>
                      <a:pt x="0" y="0"/>
                    </a:moveTo>
                    <a:cubicBezTo>
                      <a:pt x="11811" y="6477"/>
                      <a:pt x="20860" y="17145"/>
                      <a:pt x="33528" y="22289"/>
                    </a:cubicBezTo>
                  </a:path>
                </a:pathLst>
              </a:custGeom>
              <a:noFill/>
              <a:ln w="12700" cap="rnd">
                <a:solidFill>
                  <a:srgbClr val="A6A6A6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IN"/>
              </a:p>
            </p:txBody>
          </p:sp>
        </p:grp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E7CB34EF-ED59-2A33-389E-DCE36022B233}"/>
                </a:ext>
              </a:extLst>
            </p:cNvPr>
            <p:cNvSpPr/>
            <p:nvPr/>
          </p:nvSpPr>
          <p:spPr>
            <a:xfrm>
              <a:off x="5813986" y="4162277"/>
              <a:ext cx="7905" cy="106584"/>
            </a:xfrm>
            <a:custGeom>
              <a:avLst/>
              <a:gdLst>
                <a:gd name="csX0" fmla="*/ 0 w 7905"/>
                <a:gd name="csY0" fmla="*/ 106585 h 106584"/>
                <a:gd name="csX1" fmla="*/ 7906 w 7905"/>
                <a:gd name="csY1" fmla="*/ 0 h 10658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7905" h="106584">
                  <a:moveTo>
                    <a:pt x="0" y="106585"/>
                  </a:moveTo>
                  <a:lnTo>
                    <a:pt x="7906" y="0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5096F8AC-364D-BD27-D0F6-B348C4C3ED5C}"/>
                </a:ext>
              </a:extLst>
            </p:cNvPr>
            <p:cNvSpPr/>
            <p:nvPr/>
          </p:nvSpPr>
          <p:spPr>
            <a:xfrm>
              <a:off x="5899235" y="4162277"/>
              <a:ext cx="6286" cy="110490"/>
            </a:xfrm>
            <a:custGeom>
              <a:avLst/>
              <a:gdLst>
                <a:gd name="csX0" fmla="*/ 6287 w 6286"/>
                <a:gd name="csY0" fmla="*/ 110490 h 110490"/>
                <a:gd name="csX1" fmla="*/ 0 w 6286"/>
                <a:gd name="csY1" fmla="*/ 0 h 11049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6286" h="110490">
                  <a:moveTo>
                    <a:pt x="6287" y="11049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23F92E58-7E74-72DC-E43C-718A28F5CE2A}"/>
                </a:ext>
              </a:extLst>
            </p:cNvPr>
            <p:cNvSpPr/>
            <p:nvPr/>
          </p:nvSpPr>
          <p:spPr>
            <a:xfrm>
              <a:off x="5804175" y="4124653"/>
              <a:ext cx="111347" cy="37623"/>
            </a:xfrm>
            <a:prstGeom prst="rect">
              <a:avLst/>
            </a:prstGeom>
            <a:noFill/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513666FC-BFEC-13B9-E33D-F3A296F1EA75}"/>
                </a:ext>
              </a:extLst>
            </p:cNvPr>
            <p:cNvSpPr/>
            <p:nvPr/>
          </p:nvSpPr>
          <p:spPr>
            <a:xfrm>
              <a:off x="5785748" y="4055248"/>
              <a:ext cx="147872" cy="69405"/>
            </a:xfrm>
            <a:custGeom>
              <a:avLst/>
              <a:gdLst>
                <a:gd name="csX0" fmla="*/ 129775 w 147872"/>
                <a:gd name="csY0" fmla="*/ 69406 h 69405"/>
                <a:gd name="csX1" fmla="*/ 147872 w 147872"/>
                <a:gd name="csY1" fmla="*/ 51308 h 69405"/>
                <a:gd name="csX2" fmla="*/ 147872 w 147872"/>
                <a:gd name="csY2" fmla="*/ 635 h 69405"/>
                <a:gd name="csX3" fmla="*/ 113487 w 147872"/>
                <a:gd name="csY3" fmla="*/ 635 h 69405"/>
                <a:gd name="csX4" fmla="*/ 113487 w 147872"/>
                <a:gd name="csY4" fmla="*/ 28353 h 69405"/>
                <a:gd name="csX5" fmla="*/ 92913 w 147872"/>
                <a:gd name="csY5" fmla="*/ 28353 h 69405"/>
                <a:gd name="csX6" fmla="*/ 92913 w 147872"/>
                <a:gd name="csY6" fmla="*/ 635 h 69405"/>
                <a:gd name="csX7" fmla="*/ 56051 w 147872"/>
                <a:gd name="csY7" fmla="*/ 635 h 69405"/>
                <a:gd name="csX8" fmla="*/ 56051 w 147872"/>
                <a:gd name="csY8" fmla="*/ 28353 h 69405"/>
                <a:gd name="csX9" fmla="*/ 32239 w 147872"/>
                <a:gd name="csY9" fmla="*/ 28353 h 69405"/>
                <a:gd name="csX10" fmla="*/ 32239 w 147872"/>
                <a:gd name="csY10" fmla="*/ 635 h 69405"/>
                <a:gd name="csX11" fmla="*/ 44 w 147872"/>
                <a:gd name="csY11" fmla="*/ 635 h 69405"/>
                <a:gd name="csX12" fmla="*/ 44 w 147872"/>
                <a:gd name="csY12" fmla="*/ 50260 h 69405"/>
                <a:gd name="csX13" fmla="*/ 18809 w 147872"/>
                <a:gd name="csY13" fmla="*/ 69025 h 6940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147872" h="69405">
                  <a:moveTo>
                    <a:pt x="129775" y="69406"/>
                  </a:moveTo>
                  <a:lnTo>
                    <a:pt x="147872" y="51308"/>
                  </a:lnTo>
                  <a:lnTo>
                    <a:pt x="147872" y="635"/>
                  </a:lnTo>
                  <a:lnTo>
                    <a:pt x="113487" y="635"/>
                  </a:lnTo>
                  <a:lnTo>
                    <a:pt x="113487" y="28353"/>
                  </a:lnTo>
                  <a:lnTo>
                    <a:pt x="92913" y="28353"/>
                  </a:lnTo>
                  <a:lnTo>
                    <a:pt x="92913" y="635"/>
                  </a:lnTo>
                  <a:lnTo>
                    <a:pt x="56051" y="635"/>
                  </a:lnTo>
                  <a:lnTo>
                    <a:pt x="56051" y="28353"/>
                  </a:lnTo>
                  <a:lnTo>
                    <a:pt x="32239" y="28353"/>
                  </a:lnTo>
                  <a:lnTo>
                    <a:pt x="32239" y="635"/>
                  </a:lnTo>
                  <a:cubicBezTo>
                    <a:pt x="32239" y="635"/>
                    <a:pt x="-1384" y="-794"/>
                    <a:pt x="44" y="635"/>
                  </a:cubicBezTo>
                  <a:lnTo>
                    <a:pt x="44" y="50260"/>
                  </a:lnTo>
                  <a:lnTo>
                    <a:pt x="18809" y="69025"/>
                  </a:lnTo>
                </a:path>
              </a:pathLst>
            </a:custGeom>
            <a:noFill/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4CF35391-587C-C0E0-FD86-14F3E1EA9C7F}"/>
                </a:ext>
              </a:extLst>
            </p:cNvPr>
            <p:cNvSpPr/>
            <p:nvPr/>
          </p:nvSpPr>
          <p:spPr>
            <a:xfrm>
              <a:off x="5967053" y="4165135"/>
              <a:ext cx="42195" cy="9525"/>
            </a:xfrm>
            <a:custGeom>
              <a:avLst/>
              <a:gdLst>
                <a:gd name="csX0" fmla="*/ 0 w 42195"/>
                <a:gd name="csY0" fmla="*/ 0 h 9525"/>
                <a:gd name="csX1" fmla="*/ 42196 w 42195"/>
                <a:gd name="csY1" fmla="*/ 0 h 95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42195" h="9525">
                  <a:moveTo>
                    <a:pt x="0" y="0"/>
                  </a:moveTo>
                  <a:lnTo>
                    <a:pt x="42196" y="0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D97E1BFF-C7E2-B828-6F16-46E985CA8782}"/>
                </a:ext>
              </a:extLst>
            </p:cNvPr>
            <p:cNvSpPr/>
            <p:nvPr/>
          </p:nvSpPr>
          <p:spPr>
            <a:xfrm>
              <a:off x="5709783" y="4165135"/>
              <a:ext cx="44005" cy="9525"/>
            </a:xfrm>
            <a:custGeom>
              <a:avLst/>
              <a:gdLst>
                <a:gd name="csX0" fmla="*/ 44006 w 44005"/>
                <a:gd name="csY0" fmla="*/ 0 h 9525"/>
                <a:gd name="csX1" fmla="*/ 0 w 44005"/>
                <a:gd name="csY1" fmla="*/ 0 h 95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44005" h="9525">
                  <a:moveTo>
                    <a:pt x="44006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93F6560C-5692-67E2-EC86-EAB61DDFC782}"/>
                </a:ext>
              </a:extLst>
            </p:cNvPr>
            <p:cNvSpPr/>
            <p:nvPr/>
          </p:nvSpPr>
          <p:spPr>
            <a:xfrm>
              <a:off x="5737405" y="4119700"/>
              <a:ext cx="20669" cy="14859"/>
            </a:xfrm>
            <a:custGeom>
              <a:avLst/>
              <a:gdLst>
                <a:gd name="csX0" fmla="*/ 0 w 20669"/>
                <a:gd name="csY0" fmla="*/ 0 h 14859"/>
                <a:gd name="csX1" fmla="*/ 20669 w 20669"/>
                <a:gd name="csY1" fmla="*/ 14859 h 1485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0669" h="14859">
                  <a:moveTo>
                    <a:pt x="0" y="0"/>
                  </a:moveTo>
                  <a:lnTo>
                    <a:pt x="20669" y="14859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F665C7FA-D45C-F414-5899-5F26B1DA087A}"/>
                </a:ext>
              </a:extLst>
            </p:cNvPr>
            <p:cNvSpPr/>
            <p:nvPr/>
          </p:nvSpPr>
          <p:spPr>
            <a:xfrm>
              <a:off x="5734262" y="4197520"/>
              <a:ext cx="23812" cy="15620"/>
            </a:xfrm>
            <a:custGeom>
              <a:avLst/>
              <a:gdLst>
                <a:gd name="csX0" fmla="*/ 0 w 23812"/>
                <a:gd name="csY0" fmla="*/ 15621 h 15620"/>
                <a:gd name="csX1" fmla="*/ 23813 w 23812"/>
                <a:gd name="csY1" fmla="*/ 0 h 1562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3812" h="15620">
                  <a:moveTo>
                    <a:pt x="0" y="15621"/>
                  </a:moveTo>
                  <a:lnTo>
                    <a:pt x="23813" y="0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93492313-E35D-F78E-2587-3DE5FEBFA8CC}"/>
                </a:ext>
              </a:extLst>
            </p:cNvPr>
            <p:cNvSpPr/>
            <p:nvPr/>
          </p:nvSpPr>
          <p:spPr>
            <a:xfrm>
              <a:off x="5960957" y="4197520"/>
              <a:ext cx="25050" cy="15620"/>
            </a:xfrm>
            <a:custGeom>
              <a:avLst/>
              <a:gdLst>
                <a:gd name="csX0" fmla="*/ 0 w 25050"/>
                <a:gd name="csY0" fmla="*/ 0 h 15620"/>
                <a:gd name="csX1" fmla="*/ 25051 w 25050"/>
                <a:gd name="csY1" fmla="*/ 15621 h 1562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5050" h="15620">
                  <a:moveTo>
                    <a:pt x="0" y="0"/>
                  </a:moveTo>
                  <a:lnTo>
                    <a:pt x="25051" y="15621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AEC7D8E8-8514-7924-1E3E-8CFFA353B5AA}"/>
                </a:ext>
              </a:extLst>
            </p:cNvPr>
            <p:cNvSpPr/>
            <p:nvPr/>
          </p:nvSpPr>
          <p:spPr>
            <a:xfrm>
              <a:off x="5960957" y="4119700"/>
              <a:ext cx="25050" cy="14859"/>
            </a:xfrm>
            <a:custGeom>
              <a:avLst/>
              <a:gdLst>
                <a:gd name="csX0" fmla="*/ 0 w 25050"/>
                <a:gd name="csY0" fmla="*/ 14859 h 14859"/>
                <a:gd name="csX1" fmla="*/ 25051 w 25050"/>
                <a:gd name="csY1" fmla="*/ 0 h 1485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5050" h="14859">
                  <a:moveTo>
                    <a:pt x="0" y="14859"/>
                  </a:moveTo>
                  <a:lnTo>
                    <a:pt x="25051" y="0"/>
                  </a:lnTo>
                </a:path>
              </a:pathLst>
            </a:custGeom>
            <a:ln w="12700" cap="rnd">
              <a:solidFill>
                <a:srgbClr val="A6A6A6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0D7304BA-28EF-E2E8-BADA-D4246EEE461C}"/>
              </a:ext>
            </a:extLst>
          </p:cNvPr>
          <p:cNvGrpSpPr/>
          <p:nvPr/>
        </p:nvGrpSpPr>
        <p:grpSpPr>
          <a:xfrm>
            <a:off x="2682518" y="2008946"/>
            <a:ext cx="425291" cy="366045"/>
            <a:chOff x="2447971" y="5569850"/>
            <a:chExt cx="425291" cy="366045"/>
          </a:xfrm>
        </p:grpSpPr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3BFD861E-BD29-403B-160F-A121AA0D80AF}"/>
                </a:ext>
              </a:extLst>
            </p:cNvPr>
            <p:cNvSpPr/>
            <p:nvPr/>
          </p:nvSpPr>
          <p:spPr>
            <a:xfrm>
              <a:off x="2450828" y="5822834"/>
              <a:ext cx="420243" cy="58769"/>
            </a:xfrm>
            <a:custGeom>
              <a:avLst/>
              <a:gdLst>
                <a:gd name="csX0" fmla="*/ 33719 w 420243"/>
                <a:gd name="csY0" fmla="*/ 0 h 58769"/>
                <a:gd name="csX1" fmla="*/ 386525 w 420243"/>
                <a:gd name="csY1" fmla="*/ 0 h 58769"/>
                <a:gd name="csX2" fmla="*/ 420243 w 420243"/>
                <a:gd name="csY2" fmla="*/ 58769 h 58769"/>
                <a:gd name="csX3" fmla="*/ 0 w 420243"/>
                <a:gd name="csY3" fmla="*/ 58769 h 58769"/>
                <a:gd name="csX4" fmla="*/ 33719 w 420243"/>
                <a:gd name="csY4" fmla="*/ 0 h 5876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420243" h="58769">
                  <a:moveTo>
                    <a:pt x="33719" y="0"/>
                  </a:moveTo>
                  <a:lnTo>
                    <a:pt x="386525" y="0"/>
                  </a:lnTo>
                  <a:lnTo>
                    <a:pt x="420243" y="58769"/>
                  </a:lnTo>
                  <a:lnTo>
                    <a:pt x="0" y="58769"/>
                  </a:lnTo>
                  <a:lnTo>
                    <a:pt x="33719" y="0"/>
                  </a:lnTo>
                  <a:close/>
                </a:path>
              </a:pathLst>
            </a:custGeom>
            <a:noFill/>
            <a:ln w="12700" cap="rnd">
              <a:solidFill>
                <a:schemeClr val="accent5"/>
              </a:solidFill>
              <a:prstDash val="solid"/>
              <a:round/>
            </a:ln>
          </p:spPr>
          <p:txBody>
            <a:bodyPr/>
            <a:lstStyle/>
            <a:p>
              <a:endParaRPr lang="en-IN"/>
            </a:p>
          </p:txBody>
        </p:sp>
        <p:grpSp>
          <p:nvGrpSpPr>
            <p:cNvPr id="125" name="Graphic 53">
              <a:extLst>
                <a:ext uri="{FF2B5EF4-FFF2-40B4-BE49-F238E27FC236}">
                  <a16:creationId xmlns:a16="http://schemas.microsoft.com/office/drawing/2014/main" id="{92090BFC-3DFB-232A-44B2-7F2C66034F0A}"/>
                </a:ext>
              </a:extLst>
            </p:cNvPr>
            <p:cNvGrpSpPr/>
            <p:nvPr/>
          </p:nvGrpSpPr>
          <p:grpSpPr>
            <a:xfrm>
              <a:off x="2447971" y="5584328"/>
              <a:ext cx="425291" cy="351567"/>
              <a:chOff x="2447971" y="5584328"/>
              <a:chExt cx="425291" cy="351567"/>
            </a:xfrm>
            <a:noFill/>
          </p:grpSpPr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42C53150-AD1D-2D43-25AF-076E45D60D0C}"/>
                  </a:ext>
                </a:extLst>
              </p:cNvPr>
              <p:cNvSpPr/>
              <p:nvPr/>
            </p:nvSpPr>
            <p:spPr>
              <a:xfrm>
                <a:off x="2639995" y="5854457"/>
                <a:ext cx="40766" cy="9525"/>
              </a:xfrm>
              <a:custGeom>
                <a:avLst/>
                <a:gdLst>
                  <a:gd name="csX0" fmla="*/ 40767 w 40766"/>
                  <a:gd name="csY0" fmla="*/ 0 h 9525"/>
                  <a:gd name="csX1" fmla="*/ 0 w 40766"/>
                  <a:gd name="csY1" fmla="*/ 0 h 952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</a:cxnLst>
                <a:rect l="l" t="t" r="r" b="b"/>
                <a:pathLst>
                  <a:path w="40766" h="9525">
                    <a:moveTo>
                      <a:pt x="40767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accent5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608BAD02-3EDC-8169-BB30-42345E59B766}"/>
                  </a:ext>
                </a:extLst>
              </p:cNvPr>
              <p:cNvSpPr/>
              <p:nvPr/>
            </p:nvSpPr>
            <p:spPr>
              <a:xfrm>
                <a:off x="2447971" y="5584328"/>
                <a:ext cx="425291" cy="351567"/>
              </a:xfrm>
              <a:custGeom>
                <a:avLst/>
                <a:gdLst>
                  <a:gd name="csX0" fmla="*/ 341376 w 425291"/>
                  <a:gd name="csY0" fmla="*/ 0 h 351567"/>
                  <a:gd name="csX1" fmla="*/ 72104 w 425291"/>
                  <a:gd name="csY1" fmla="*/ 0 h 351567"/>
                  <a:gd name="csX2" fmla="*/ 38195 w 425291"/>
                  <a:gd name="csY2" fmla="*/ 33909 h 351567"/>
                  <a:gd name="csX3" fmla="*/ 38195 w 425291"/>
                  <a:gd name="csY3" fmla="*/ 230029 h 351567"/>
                  <a:gd name="csX4" fmla="*/ 572 w 425291"/>
                  <a:gd name="csY4" fmla="*/ 300895 h 351567"/>
                  <a:gd name="csX5" fmla="*/ 572 w 425291"/>
                  <a:gd name="csY5" fmla="*/ 300990 h 351567"/>
                  <a:gd name="csX6" fmla="*/ 286 w 425291"/>
                  <a:gd name="csY6" fmla="*/ 301657 h 351567"/>
                  <a:gd name="csX7" fmla="*/ 286 w 425291"/>
                  <a:gd name="csY7" fmla="*/ 301847 h 351567"/>
                  <a:gd name="csX8" fmla="*/ 95 w 425291"/>
                  <a:gd name="csY8" fmla="*/ 302419 h 351567"/>
                  <a:gd name="csX9" fmla="*/ 95 w 425291"/>
                  <a:gd name="csY9" fmla="*/ 302609 h 351567"/>
                  <a:gd name="csX10" fmla="*/ 0 w 425291"/>
                  <a:gd name="csY10" fmla="*/ 303371 h 351567"/>
                  <a:gd name="csX11" fmla="*/ 0 w 425291"/>
                  <a:gd name="csY11" fmla="*/ 304038 h 351567"/>
                  <a:gd name="csX12" fmla="*/ 0 w 425291"/>
                  <a:gd name="csY12" fmla="*/ 317659 h 351567"/>
                  <a:gd name="csX13" fmla="*/ 33909 w 425291"/>
                  <a:gd name="csY13" fmla="*/ 351568 h 351567"/>
                  <a:gd name="csX14" fmla="*/ 391382 w 425291"/>
                  <a:gd name="csY14" fmla="*/ 351568 h 351567"/>
                  <a:gd name="csX15" fmla="*/ 425291 w 425291"/>
                  <a:gd name="csY15" fmla="*/ 317659 h 351567"/>
                  <a:gd name="csX16" fmla="*/ 425291 w 425291"/>
                  <a:gd name="csY16" fmla="*/ 304038 h 351567"/>
                  <a:gd name="csX17" fmla="*/ 425291 w 425291"/>
                  <a:gd name="csY17" fmla="*/ 303371 h 351567"/>
                  <a:gd name="csX18" fmla="*/ 425291 w 425291"/>
                  <a:gd name="csY18" fmla="*/ 303371 h 351567"/>
                  <a:gd name="csX19" fmla="*/ 425196 w 425291"/>
                  <a:gd name="csY19" fmla="*/ 302609 h 351567"/>
                  <a:gd name="csX20" fmla="*/ 425196 w 425291"/>
                  <a:gd name="csY20" fmla="*/ 302419 h 351567"/>
                  <a:gd name="csX21" fmla="*/ 425006 w 425291"/>
                  <a:gd name="csY21" fmla="*/ 301847 h 351567"/>
                  <a:gd name="csX22" fmla="*/ 425006 w 425291"/>
                  <a:gd name="csY22" fmla="*/ 301657 h 351567"/>
                  <a:gd name="csX23" fmla="*/ 424720 w 425291"/>
                  <a:gd name="csY23" fmla="*/ 300990 h 351567"/>
                  <a:gd name="csX24" fmla="*/ 424720 w 425291"/>
                  <a:gd name="csY24" fmla="*/ 300990 h 351567"/>
                  <a:gd name="csX25" fmla="*/ 387096 w 425291"/>
                  <a:gd name="csY25" fmla="*/ 230124 h 351567"/>
                  <a:gd name="csX26" fmla="*/ 387096 w 425291"/>
                  <a:gd name="csY26" fmla="*/ 45149 h 35156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</a:cxnLst>
                <a:rect l="l" t="t" r="r" b="b"/>
                <a:pathLst>
                  <a:path w="425291" h="351567">
                    <a:moveTo>
                      <a:pt x="341376" y="0"/>
                    </a:moveTo>
                    <a:lnTo>
                      <a:pt x="72104" y="0"/>
                    </a:lnTo>
                    <a:cubicBezTo>
                      <a:pt x="53435" y="0"/>
                      <a:pt x="38195" y="15240"/>
                      <a:pt x="38195" y="33909"/>
                    </a:cubicBezTo>
                    <a:lnTo>
                      <a:pt x="38195" y="230029"/>
                    </a:lnTo>
                    <a:lnTo>
                      <a:pt x="572" y="300895"/>
                    </a:lnTo>
                    <a:cubicBezTo>
                      <a:pt x="572" y="300895"/>
                      <a:pt x="572" y="300990"/>
                      <a:pt x="572" y="300990"/>
                    </a:cubicBezTo>
                    <a:cubicBezTo>
                      <a:pt x="476" y="301181"/>
                      <a:pt x="381" y="301466"/>
                      <a:pt x="286" y="301657"/>
                    </a:cubicBezTo>
                    <a:cubicBezTo>
                      <a:pt x="286" y="301657"/>
                      <a:pt x="286" y="301752"/>
                      <a:pt x="286" y="301847"/>
                    </a:cubicBezTo>
                    <a:cubicBezTo>
                      <a:pt x="286" y="302038"/>
                      <a:pt x="191" y="302228"/>
                      <a:pt x="95" y="302419"/>
                    </a:cubicBezTo>
                    <a:cubicBezTo>
                      <a:pt x="95" y="302419"/>
                      <a:pt x="95" y="302514"/>
                      <a:pt x="95" y="302609"/>
                    </a:cubicBezTo>
                    <a:cubicBezTo>
                      <a:pt x="95" y="302895"/>
                      <a:pt x="0" y="303181"/>
                      <a:pt x="0" y="303371"/>
                    </a:cubicBezTo>
                    <a:cubicBezTo>
                      <a:pt x="0" y="303562"/>
                      <a:pt x="0" y="303848"/>
                      <a:pt x="0" y="304038"/>
                    </a:cubicBezTo>
                    <a:lnTo>
                      <a:pt x="0" y="317659"/>
                    </a:lnTo>
                    <a:cubicBezTo>
                      <a:pt x="0" y="336328"/>
                      <a:pt x="15240" y="351568"/>
                      <a:pt x="33909" y="351568"/>
                    </a:cubicBezTo>
                    <a:lnTo>
                      <a:pt x="391382" y="351568"/>
                    </a:lnTo>
                    <a:cubicBezTo>
                      <a:pt x="410051" y="351568"/>
                      <a:pt x="425291" y="336328"/>
                      <a:pt x="425291" y="317659"/>
                    </a:cubicBezTo>
                    <a:lnTo>
                      <a:pt x="425291" y="304038"/>
                    </a:lnTo>
                    <a:cubicBezTo>
                      <a:pt x="425291" y="304038"/>
                      <a:pt x="425291" y="303562"/>
                      <a:pt x="425291" y="303371"/>
                    </a:cubicBezTo>
                    <a:lnTo>
                      <a:pt x="425291" y="303371"/>
                    </a:lnTo>
                    <a:cubicBezTo>
                      <a:pt x="425291" y="303371"/>
                      <a:pt x="425291" y="302800"/>
                      <a:pt x="425196" y="302609"/>
                    </a:cubicBezTo>
                    <a:cubicBezTo>
                      <a:pt x="425196" y="302609"/>
                      <a:pt x="425196" y="302514"/>
                      <a:pt x="425196" y="302419"/>
                    </a:cubicBezTo>
                    <a:cubicBezTo>
                      <a:pt x="425196" y="302228"/>
                      <a:pt x="425101" y="302038"/>
                      <a:pt x="425006" y="301847"/>
                    </a:cubicBezTo>
                    <a:cubicBezTo>
                      <a:pt x="425006" y="301847"/>
                      <a:pt x="425006" y="301752"/>
                      <a:pt x="425006" y="301657"/>
                    </a:cubicBezTo>
                    <a:cubicBezTo>
                      <a:pt x="425006" y="301466"/>
                      <a:pt x="424815" y="301181"/>
                      <a:pt x="424720" y="300990"/>
                    </a:cubicBezTo>
                    <a:cubicBezTo>
                      <a:pt x="424720" y="300990"/>
                      <a:pt x="424720" y="300990"/>
                      <a:pt x="424720" y="300990"/>
                    </a:cubicBezTo>
                    <a:cubicBezTo>
                      <a:pt x="424720" y="300990"/>
                      <a:pt x="387096" y="230124"/>
                      <a:pt x="387096" y="230124"/>
                    </a:cubicBezTo>
                    <a:lnTo>
                      <a:pt x="387096" y="45149"/>
                    </a:lnTo>
                  </a:path>
                </a:pathLst>
              </a:custGeom>
              <a:noFill/>
              <a:ln w="12700" cap="flat">
                <a:solidFill>
                  <a:schemeClr val="accent5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</p:grp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CD8C11F1-89BC-536A-42D3-CA846ED5A15F}"/>
                </a:ext>
              </a:extLst>
            </p:cNvPr>
            <p:cNvSpPr/>
            <p:nvPr/>
          </p:nvSpPr>
          <p:spPr>
            <a:xfrm>
              <a:off x="2515312" y="5573565"/>
              <a:ext cx="321087" cy="220122"/>
            </a:xfrm>
            <a:custGeom>
              <a:avLst/>
              <a:gdLst>
                <a:gd name="csX0" fmla="*/ 0 w 321087"/>
                <a:gd name="csY0" fmla="*/ 220123 h 220122"/>
                <a:gd name="csX1" fmla="*/ 107061 w 321087"/>
                <a:gd name="csY1" fmla="*/ 114872 h 220122"/>
                <a:gd name="csX2" fmla="*/ 154400 w 321087"/>
                <a:gd name="csY2" fmla="*/ 162211 h 220122"/>
                <a:gd name="csX3" fmla="*/ 321088 w 321087"/>
                <a:gd name="csY3" fmla="*/ 0 h 22012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</a:cxnLst>
              <a:rect l="l" t="t" r="r" b="b"/>
              <a:pathLst>
                <a:path w="321087" h="220122">
                  <a:moveTo>
                    <a:pt x="0" y="220123"/>
                  </a:moveTo>
                  <a:lnTo>
                    <a:pt x="107061" y="114872"/>
                  </a:lnTo>
                  <a:lnTo>
                    <a:pt x="154400" y="162211"/>
                  </a:lnTo>
                  <a:lnTo>
                    <a:pt x="321088" y="0"/>
                  </a:lnTo>
                </a:path>
              </a:pathLst>
            </a:custGeom>
            <a:noFill/>
            <a:ln w="12700" cap="flat">
              <a:solidFill>
                <a:schemeClr val="accent5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9BA2D82C-46B1-0F7C-168D-524DE7561CB3}"/>
                </a:ext>
              </a:extLst>
            </p:cNvPr>
            <p:cNvSpPr/>
            <p:nvPr/>
          </p:nvSpPr>
          <p:spPr>
            <a:xfrm>
              <a:off x="2795919" y="5569850"/>
              <a:ext cx="44100" cy="43338"/>
            </a:xfrm>
            <a:custGeom>
              <a:avLst/>
              <a:gdLst>
                <a:gd name="csX0" fmla="*/ 39148 w 44100"/>
                <a:gd name="csY0" fmla="*/ 43339 h 43338"/>
                <a:gd name="csX1" fmla="*/ 44101 w 44100"/>
                <a:gd name="csY1" fmla="*/ 0 h 43338"/>
                <a:gd name="csX2" fmla="*/ 0 w 44100"/>
                <a:gd name="csY2" fmla="*/ 4096 h 4333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44100" h="43338">
                  <a:moveTo>
                    <a:pt x="39148" y="43339"/>
                  </a:moveTo>
                  <a:lnTo>
                    <a:pt x="44101" y="0"/>
                  </a:lnTo>
                  <a:lnTo>
                    <a:pt x="0" y="4096"/>
                  </a:lnTo>
                </a:path>
              </a:pathLst>
            </a:custGeom>
            <a:noFill/>
            <a:ln w="12700" cap="flat">
              <a:solidFill>
                <a:schemeClr val="accent5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B53243FE-FFF8-D26A-6360-496A7B6D7665}"/>
                </a:ext>
              </a:extLst>
            </p:cNvPr>
            <p:cNvSpPr/>
            <p:nvPr/>
          </p:nvSpPr>
          <p:spPr>
            <a:xfrm>
              <a:off x="2734292" y="5760065"/>
              <a:ext cx="61626" cy="27051"/>
            </a:xfrm>
            <a:prstGeom prst="rect">
              <a:avLst/>
            </a:prstGeom>
            <a:noFill/>
            <a:ln w="12700" cap="flat">
              <a:solidFill>
                <a:schemeClr val="accent5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F8B33CA1-87B6-E8F8-5CEA-C95B105561FA}"/>
                </a:ext>
              </a:extLst>
            </p:cNvPr>
            <p:cNvSpPr/>
            <p:nvPr/>
          </p:nvSpPr>
          <p:spPr>
            <a:xfrm>
              <a:off x="2734292" y="5733014"/>
              <a:ext cx="61626" cy="27051"/>
            </a:xfrm>
            <a:prstGeom prst="rect">
              <a:avLst/>
            </a:prstGeom>
            <a:noFill/>
            <a:ln w="12700" cap="flat">
              <a:solidFill>
                <a:schemeClr val="accent5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F2BAE987-7077-BF65-9F05-C1166DA30449}"/>
                </a:ext>
              </a:extLst>
            </p:cNvPr>
            <p:cNvSpPr/>
            <p:nvPr/>
          </p:nvSpPr>
          <p:spPr>
            <a:xfrm>
              <a:off x="2734292" y="5706058"/>
              <a:ext cx="61626" cy="27050"/>
            </a:xfrm>
            <a:prstGeom prst="rect">
              <a:avLst/>
            </a:prstGeom>
            <a:noFill/>
            <a:ln w="12700" cap="flat">
              <a:solidFill>
                <a:schemeClr val="accent5"/>
              </a:solidFill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9594614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26B032-04D4-A96F-39E1-E317ED6BFA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9">
            <a:extLst>
              <a:ext uri="{FF2B5EF4-FFF2-40B4-BE49-F238E27FC236}">
                <a16:creationId xmlns:a16="http://schemas.microsoft.com/office/drawing/2014/main" id="{7D4DAF76-4F3A-24E9-F7A4-1B31D2CE290D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Where we’re at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475DA7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232FA9C6-A4F6-E02E-4858-C492F6A1F165}"/>
              </a:ext>
            </a:extLst>
          </p:cNvPr>
          <p:cNvSpPr/>
          <p:nvPr/>
        </p:nvSpPr>
        <p:spPr>
          <a:xfrm>
            <a:off x="10586027" y="2591939"/>
            <a:ext cx="1119103" cy="2123632"/>
          </a:xfrm>
          <a:custGeom>
            <a:avLst/>
            <a:gdLst>
              <a:gd name="csX0" fmla="*/ 0 w 1119103"/>
              <a:gd name="csY0" fmla="*/ 407288 h 2123632"/>
              <a:gd name="csX1" fmla="*/ 0 w 1119103"/>
              <a:gd name="csY1" fmla="*/ 407288 h 2123632"/>
              <a:gd name="csX2" fmla="*/ 279723 w 1119103"/>
              <a:gd name="csY2" fmla="*/ 460763 h 2123632"/>
              <a:gd name="csX3" fmla="*/ 711815 w 1119103"/>
              <a:gd name="csY3" fmla="*/ 1061977 h 2123632"/>
              <a:gd name="csX4" fmla="*/ 0 w 1119103"/>
              <a:gd name="csY4" fmla="*/ 1716237 h 2123632"/>
              <a:gd name="csX5" fmla="*/ 0 w 1119103"/>
              <a:gd name="csY5" fmla="*/ 2123632 h 2123632"/>
              <a:gd name="csX6" fmla="*/ 25127 w 1119103"/>
              <a:gd name="csY6" fmla="*/ 2123632 h 2123632"/>
              <a:gd name="csX7" fmla="*/ 46818 w 1119103"/>
              <a:gd name="csY7" fmla="*/ 2122558 h 2123632"/>
              <a:gd name="csX8" fmla="*/ 1119103 w 1119103"/>
              <a:gd name="csY8" fmla="*/ 1061977 h 2123632"/>
              <a:gd name="csX9" fmla="*/ 279723 w 1119103"/>
              <a:gd name="csY9" fmla="*/ 34146 h 2123632"/>
              <a:gd name="csX10" fmla="*/ 0 w 1119103"/>
              <a:gd name="csY10" fmla="*/ 0 h 2123632"/>
              <a:gd name="csX11" fmla="*/ 0 w 1119103"/>
              <a:gd name="csY11" fmla="*/ 0 h 2123632"/>
              <a:gd name="csX12" fmla="*/ 0 w 1119103"/>
              <a:gd name="csY12" fmla="*/ 407288 h 212363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119103" h="2123632">
                <a:moveTo>
                  <a:pt x="0" y="407288"/>
                </a:moveTo>
                <a:lnTo>
                  <a:pt x="0" y="407288"/>
                </a:lnTo>
                <a:cubicBezTo>
                  <a:pt x="99325" y="407825"/>
                  <a:pt x="193819" y="426724"/>
                  <a:pt x="279723" y="460763"/>
                </a:cubicBezTo>
                <a:cubicBezTo>
                  <a:pt x="533566" y="561269"/>
                  <a:pt x="711815" y="792886"/>
                  <a:pt x="711815" y="1061977"/>
                </a:cubicBezTo>
                <a:cubicBezTo>
                  <a:pt x="711815" y="1421804"/>
                  <a:pt x="392685" y="1714733"/>
                  <a:pt x="0" y="1716237"/>
                </a:cubicBezTo>
                <a:lnTo>
                  <a:pt x="0" y="2123632"/>
                </a:lnTo>
                <a:lnTo>
                  <a:pt x="25127" y="2123632"/>
                </a:lnTo>
                <a:cubicBezTo>
                  <a:pt x="32429" y="2123632"/>
                  <a:pt x="39838" y="2123418"/>
                  <a:pt x="46818" y="2122558"/>
                </a:cubicBezTo>
                <a:cubicBezTo>
                  <a:pt x="642448" y="2097647"/>
                  <a:pt x="1119103" y="1631515"/>
                  <a:pt x="1119103" y="1061977"/>
                </a:cubicBezTo>
                <a:cubicBezTo>
                  <a:pt x="1119103" y="568786"/>
                  <a:pt x="761961" y="153015"/>
                  <a:pt x="279723" y="34146"/>
                </a:cubicBezTo>
                <a:cubicBezTo>
                  <a:pt x="190276" y="12026"/>
                  <a:pt x="96534" y="215"/>
                  <a:pt x="0" y="0"/>
                </a:cubicBezTo>
                <a:lnTo>
                  <a:pt x="0" y="0"/>
                </a:lnTo>
                <a:lnTo>
                  <a:pt x="0" y="407288"/>
                </a:lnTo>
                <a:close/>
              </a:path>
            </a:pathLst>
          </a:custGeom>
          <a:gradFill flip="none" rotWithShape="1">
            <a:gsLst>
              <a:gs pos="12000">
                <a:schemeClr val="accent5"/>
              </a:gs>
              <a:gs pos="100000">
                <a:schemeClr val="tx1"/>
              </a:gs>
            </a:gsLst>
            <a:lin ang="16200000" scaled="1"/>
            <a:tileRect/>
          </a:gradFill>
          <a:ln w="10736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3CB2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E8EFF42-678B-5CA0-44F4-3195BCA8DA2F}"/>
              </a:ext>
            </a:extLst>
          </p:cNvPr>
          <p:cNvSpPr/>
          <p:nvPr/>
        </p:nvSpPr>
        <p:spPr>
          <a:xfrm>
            <a:off x="2273827" y="2591939"/>
            <a:ext cx="2018103" cy="4072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DA7B22-E32D-FCD3-4B2E-784AEA714135}"/>
              </a:ext>
            </a:extLst>
          </p:cNvPr>
          <p:cNvSpPr/>
          <p:nvPr/>
        </p:nvSpPr>
        <p:spPr>
          <a:xfrm>
            <a:off x="4353998" y="2591939"/>
            <a:ext cx="2018103" cy="4072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A7A3FF-E171-7C59-B1EA-C2936C1ACEE5}"/>
              </a:ext>
            </a:extLst>
          </p:cNvPr>
          <p:cNvSpPr/>
          <p:nvPr/>
        </p:nvSpPr>
        <p:spPr>
          <a:xfrm>
            <a:off x="6434170" y="2591939"/>
            <a:ext cx="2018103" cy="407288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EBAAAB9-1E0D-066C-5F08-8C7F9D18014A}"/>
              </a:ext>
            </a:extLst>
          </p:cNvPr>
          <p:cNvSpPr/>
          <p:nvPr/>
        </p:nvSpPr>
        <p:spPr>
          <a:xfrm>
            <a:off x="8514340" y="2591939"/>
            <a:ext cx="2018104" cy="4072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E9AB8B9-E7BF-A683-53BC-FCDAE905D74B}"/>
              </a:ext>
            </a:extLst>
          </p:cNvPr>
          <p:cNvSpPr/>
          <p:nvPr/>
        </p:nvSpPr>
        <p:spPr>
          <a:xfrm>
            <a:off x="6999303" y="4308390"/>
            <a:ext cx="1735593" cy="407288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EC40EE2-2564-CAA7-F38C-0893099FC0BA}"/>
              </a:ext>
            </a:extLst>
          </p:cNvPr>
          <p:cNvSpPr/>
          <p:nvPr/>
        </p:nvSpPr>
        <p:spPr>
          <a:xfrm>
            <a:off x="8796742" y="4308390"/>
            <a:ext cx="1735595" cy="40728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AFE6ACA-4BBF-FA0F-0806-6EA922B13A56}"/>
              </a:ext>
            </a:extLst>
          </p:cNvPr>
          <p:cNvSpPr/>
          <p:nvPr/>
        </p:nvSpPr>
        <p:spPr>
          <a:xfrm>
            <a:off x="2273827" y="3024412"/>
            <a:ext cx="2018103" cy="630936"/>
          </a:xfrm>
          <a:prstGeom prst="rect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46800" rIns="36000" bIns="0" numCol="1" spcCol="1270" anchor="t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 diverse key informant interview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E968CB5-3D6D-4C17-1B2C-FC5626B05557}"/>
              </a:ext>
            </a:extLst>
          </p:cNvPr>
          <p:cNvSpPr/>
          <p:nvPr/>
        </p:nvSpPr>
        <p:spPr>
          <a:xfrm>
            <a:off x="6999302" y="4740863"/>
            <a:ext cx="1735594" cy="630936"/>
          </a:xfrm>
          <a:prstGeom prst="rect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46800" rIns="36000" bIns="0" numCol="1" spcCol="1270" anchor="t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/>
              </a:rPr>
              <a:t>R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ommendation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r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</a:t>
            </a:r>
            <a:r>
              <a:rPr lang="en-US" sz="1400" dirty="0">
                <a:solidFill>
                  <a:srgbClr val="000000"/>
                </a:solidFill>
                <a:latin typeface="Calibri" panose="020F0502020204030204"/>
              </a:rPr>
              <a:t>y stakeholders</a:t>
            </a:r>
          </a:p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March</a:t>
            </a:r>
            <a:r>
              <a:rPr lang="en-US" sz="1400" dirty="0">
                <a:solidFill>
                  <a:srgbClr val="000000"/>
                </a:solidFill>
                <a:latin typeface="Calibri" panose="020F0502020204030204"/>
              </a:rPr>
              <a:t>)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AEB5B03-949F-B31C-369A-ADFD1212FA4D}"/>
              </a:ext>
            </a:extLst>
          </p:cNvPr>
          <p:cNvSpPr/>
          <p:nvPr/>
        </p:nvSpPr>
        <p:spPr>
          <a:xfrm>
            <a:off x="8796743" y="4740863"/>
            <a:ext cx="1735594" cy="630936"/>
          </a:xfrm>
          <a:prstGeom prst="rect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46800" rIns="36000" bIns="0" numCol="1" spcCol="1270" anchor="t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/>
              </a:rPr>
              <a:t>L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scap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ort of skills gaps</a:t>
            </a:r>
          </a:p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highlight>
                  <a:srgbClr val="FFFF00"/>
                </a:highlight>
                <a:latin typeface="Calibri" panose="020F0502020204030204"/>
              </a:rPr>
              <a:t>(March)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A52476D-7247-6B29-BE6E-A69752331CB0}"/>
              </a:ext>
            </a:extLst>
          </p:cNvPr>
          <p:cNvSpPr/>
          <p:nvPr/>
        </p:nvSpPr>
        <p:spPr>
          <a:xfrm>
            <a:off x="8514341" y="3024412"/>
            <a:ext cx="2018103" cy="630936"/>
          </a:xfrm>
          <a:prstGeom prst="rect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46800" rIns="36000" bIns="0" numCol="1" spcCol="1270" anchor="t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 t</a:t>
            </a:r>
            <a:r>
              <a:rPr lang="en-US" sz="1400" dirty="0" err="1">
                <a:solidFill>
                  <a:srgbClr val="000000"/>
                </a:solidFill>
                <a:latin typeface="Calibri" panose="020F0502020204030204"/>
              </a:rPr>
              <a:t>argetted</a:t>
            </a:r>
            <a:r>
              <a:rPr lang="en-US" sz="1400" dirty="0">
                <a:solidFill>
                  <a:srgbClr val="000000"/>
                </a:solidFill>
                <a:latin typeface="Calibri" panose="020F0502020204030204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cus groups (&gt;20 participants)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DAE554C-D614-5F05-3C11-CB66581D4FCD}"/>
              </a:ext>
            </a:extLst>
          </p:cNvPr>
          <p:cNvSpPr/>
          <p:nvPr/>
        </p:nvSpPr>
        <p:spPr>
          <a:xfrm>
            <a:off x="6434170" y="3024412"/>
            <a:ext cx="2018103" cy="630936"/>
          </a:xfrm>
          <a:prstGeom prst="rect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46800" rIns="36000" bIns="0" numCol="1" spcCol="1270" anchor="t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7 full survey response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4A0815-8FE3-25B8-8825-985E93EEEBA9}"/>
              </a:ext>
            </a:extLst>
          </p:cNvPr>
          <p:cNvSpPr/>
          <p:nvPr/>
        </p:nvSpPr>
        <p:spPr>
          <a:xfrm>
            <a:off x="4353998" y="3024412"/>
            <a:ext cx="2018103" cy="630936"/>
          </a:xfrm>
          <a:prstGeom prst="rect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46800" rIns="36000" bIns="0" numCol="1" spcCol="1270" anchor="t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/>
              </a:rPr>
              <a:t>Co-d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elopm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f skills survey with Oversight Group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5589B08-62D2-9CE4-F461-B7DE4B6F8FF4}"/>
              </a:ext>
            </a:extLst>
          </p:cNvPr>
          <p:cNvGrpSpPr/>
          <p:nvPr/>
        </p:nvGrpSpPr>
        <p:grpSpPr>
          <a:xfrm>
            <a:off x="4195694" y="2668314"/>
            <a:ext cx="254539" cy="254539"/>
            <a:chOff x="3815017" y="1439480"/>
            <a:chExt cx="914400" cy="91440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4ECD6B3E-6DFD-D033-7D8D-BB282D03D035}"/>
                </a:ext>
              </a:extLst>
            </p:cNvPr>
            <p:cNvSpPr/>
            <p:nvPr/>
          </p:nvSpPr>
          <p:spPr>
            <a:xfrm>
              <a:off x="3815017" y="1439480"/>
              <a:ext cx="914400" cy="914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Arrow: Chevron 47">
              <a:extLst>
                <a:ext uri="{FF2B5EF4-FFF2-40B4-BE49-F238E27FC236}">
                  <a16:creationId xmlns:a16="http://schemas.microsoft.com/office/drawing/2014/main" id="{A5EF909C-D25C-D16A-2740-467631829431}"/>
                </a:ext>
              </a:extLst>
            </p:cNvPr>
            <p:cNvSpPr/>
            <p:nvPr/>
          </p:nvSpPr>
          <p:spPr>
            <a:xfrm>
              <a:off x="4136485" y="1693036"/>
              <a:ext cx="285751" cy="407288"/>
            </a:xfrm>
            <a:prstGeom prst="chevron">
              <a:avLst>
                <a:gd name="adj" fmla="val 76666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04ED3D2-D2E3-64D8-853D-99642A95CBA4}"/>
              </a:ext>
            </a:extLst>
          </p:cNvPr>
          <p:cNvGrpSpPr/>
          <p:nvPr/>
        </p:nvGrpSpPr>
        <p:grpSpPr>
          <a:xfrm>
            <a:off x="6275866" y="2668314"/>
            <a:ext cx="254539" cy="254539"/>
            <a:chOff x="3815017" y="1439480"/>
            <a:chExt cx="914400" cy="91440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E323F68-4C78-0BDD-A27C-5BD9BED01ABE}"/>
                </a:ext>
              </a:extLst>
            </p:cNvPr>
            <p:cNvSpPr/>
            <p:nvPr/>
          </p:nvSpPr>
          <p:spPr>
            <a:xfrm>
              <a:off x="3815017" y="1439480"/>
              <a:ext cx="914400" cy="914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Arrow: Chevron 50">
              <a:extLst>
                <a:ext uri="{FF2B5EF4-FFF2-40B4-BE49-F238E27FC236}">
                  <a16:creationId xmlns:a16="http://schemas.microsoft.com/office/drawing/2014/main" id="{2A55D960-3B80-9CBC-AC03-816D03460914}"/>
                </a:ext>
              </a:extLst>
            </p:cNvPr>
            <p:cNvSpPr/>
            <p:nvPr/>
          </p:nvSpPr>
          <p:spPr>
            <a:xfrm>
              <a:off x="4136485" y="1693036"/>
              <a:ext cx="285751" cy="407288"/>
            </a:xfrm>
            <a:prstGeom prst="chevron">
              <a:avLst>
                <a:gd name="adj" fmla="val 76666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3782965-8CBA-4B23-BB7C-ADF9D9A00D0B}"/>
              </a:ext>
            </a:extLst>
          </p:cNvPr>
          <p:cNvGrpSpPr/>
          <p:nvPr/>
        </p:nvGrpSpPr>
        <p:grpSpPr>
          <a:xfrm>
            <a:off x="8356037" y="2668314"/>
            <a:ext cx="254539" cy="254539"/>
            <a:chOff x="3815017" y="1439480"/>
            <a:chExt cx="914400" cy="91440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4541555-D28E-3B17-A5FB-9A1424FA90D3}"/>
                </a:ext>
              </a:extLst>
            </p:cNvPr>
            <p:cNvSpPr/>
            <p:nvPr/>
          </p:nvSpPr>
          <p:spPr>
            <a:xfrm>
              <a:off x="3815017" y="1439480"/>
              <a:ext cx="914400" cy="914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Arrow: Chevron 53">
              <a:extLst>
                <a:ext uri="{FF2B5EF4-FFF2-40B4-BE49-F238E27FC236}">
                  <a16:creationId xmlns:a16="http://schemas.microsoft.com/office/drawing/2014/main" id="{D4902967-32B1-35D9-0BFA-0BA1638F37BC}"/>
                </a:ext>
              </a:extLst>
            </p:cNvPr>
            <p:cNvSpPr/>
            <p:nvPr/>
          </p:nvSpPr>
          <p:spPr>
            <a:xfrm>
              <a:off x="4136485" y="1693036"/>
              <a:ext cx="285751" cy="407288"/>
            </a:xfrm>
            <a:prstGeom prst="chevron">
              <a:avLst>
                <a:gd name="adj" fmla="val 76666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7BCEDD6A-1F4F-35E4-A24D-A3E445B03D78}"/>
              </a:ext>
            </a:extLst>
          </p:cNvPr>
          <p:cNvGrpSpPr/>
          <p:nvPr/>
        </p:nvGrpSpPr>
        <p:grpSpPr>
          <a:xfrm flipH="1">
            <a:off x="8638550" y="4384765"/>
            <a:ext cx="254539" cy="254539"/>
            <a:chOff x="3815017" y="1439480"/>
            <a:chExt cx="914400" cy="91440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D64DF752-9DEB-C87C-8926-1C998DB36186}"/>
                </a:ext>
              </a:extLst>
            </p:cNvPr>
            <p:cNvSpPr/>
            <p:nvPr/>
          </p:nvSpPr>
          <p:spPr>
            <a:xfrm>
              <a:off x="3815017" y="1439480"/>
              <a:ext cx="914400" cy="914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Arrow: Chevron 62">
              <a:extLst>
                <a:ext uri="{FF2B5EF4-FFF2-40B4-BE49-F238E27FC236}">
                  <a16:creationId xmlns:a16="http://schemas.microsoft.com/office/drawing/2014/main" id="{321C9982-78E1-D4CB-2E82-1D1CC689C66A}"/>
                </a:ext>
              </a:extLst>
            </p:cNvPr>
            <p:cNvSpPr/>
            <p:nvPr/>
          </p:nvSpPr>
          <p:spPr>
            <a:xfrm>
              <a:off x="4136485" y="1693036"/>
              <a:ext cx="285751" cy="407288"/>
            </a:xfrm>
            <a:prstGeom prst="chevron">
              <a:avLst>
                <a:gd name="adj" fmla="val 76666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75" name="Ink 74">
                <a:extLst>
                  <a:ext uri="{FF2B5EF4-FFF2-40B4-BE49-F238E27FC236}">
                    <a16:creationId xmlns:a16="http://schemas.microsoft.com/office/drawing/2014/main" id="{DA1BB8B7-7B0D-324A-7D38-553B329D59C2}"/>
                  </a:ext>
                </a:extLst>
              </p14:cNvPr>
              <p14:cNvContentPartPr/>
              <p14:nvPr/>
            </p14:nvContentPartPr>
            <p14:xfrm>
              <a:off x="7603162" y="5373322"/>
              <a:ext cx="578160" cy="720"/>
            </p14:xfrm>
          </p:contentPart>
        </mc:Choice>
        <mc:Fallback>
          <p:pic>
            <p:nvPicPr>
              <p:cNvPr id="75" name="Ink 74">
                <a:extLst>
                  <a:ext uri="{FF2B5EF4-FFF2-40B4-BE49-F238E27FC236}">
                    <a16:creationId xmlns:a16="http://schemas.microsoft.com/office/drawing/2014/main" id="{DA1BB8B7-7B0D-324A-7D38-553B329D59C2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549522" y="5157322"/>
                <a:ext cx="685800" cy="43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76" name="Ink 75">
                <a:extLst>
                  <a:ext uri="{FF2B5EF4-FFF2-40B4-BE49-F238E27FC236}">
                    <a16:creationId xmlns:a16="http://schemas.microsoft.com/office/drawing/2014/main" id="{F3C804D7-216C-A726-07C3-53F47984E321}"/>
                  </a:ext>
                </a:extLst>
              </p14:cNvPr>
              <p14:cNvContentPartPr/>
              <p14:nvPr/>
            </p14:nvContentPartPr>
            <p14:xfrm>
              <a:off x="14678242" y="4988842"/>
              <a:ext cx="360" cy="360"/>
            </p14:xfrm>
          </p:contentPart>
        </mc:Choice>
        <mc:Fallback>
          <p:pic>
            <p:nvPicPr>
              <p:cNvPr id="76" name="Ink 75">
                <a:extLst>
                  <a:ext uri="{FF2B5EF4-FFF2-40B4-BE49-F238E27FC236}">
                    <a16:creationId xmlns:a16="http://schemas.microsoft.com/office/drawing/2014/main" id="{F3C804D7-216C-A726-07C3-53F47984E321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4624602" y="4880842"/>
                <a:ext cx="108000" cy="216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464590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10A12B-3F2A-34B5-C194-750A7F2B89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9">
            <a:extLst>
              <a:ext uri="{FF2B5EF4-FFF2-40B4-BE49-F238E27FC236}">
                <a16:creationId xmlns:a16="http://schemas.microsoft.com/office/drawing/2014/main" id="{D9A45B15-0156-D7ED-B6D7-4D7B737EE7D0}"/>
              </a:ext>
            </a:extLst>
          </p:cNvPr>
          <p:cNvSpPr txBox="1">
            <a:spLocks/>
          </p:cNvSpPr>
          <p:nvPr/>
        </p:nvSpPr>
        <p:spPr>
          <a:xfrm>
            <a:off x="2489200" y="667385"/>
            <a:ext cx="7635002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On careers and professional pathway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475DA7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10" name="Google Shape;137;g3a086141320_0_223" title="Q28_training_help_career.png">
            <a:extLst>
              <a:ext uri="{FF2B5EF4-FFF2-40B4-BE49-F238E27FC236}">
                <a16:creationId xmlns:a16="http://schemas.microsoft.com/office/drawing/2014/main" id="{967B7BF2-6BE3-A688-5CF6-6FCEB0803F29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001003" y="2379172"/>
            <a:ext cx="4880244" cy="35101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38;g3a086141320_0_223" title="Q29_interest_in_structured_framework.png">
            <a:extLst>
              <a:ext uri="{FF2B5EF4-FFF2-40B4-BE49-F238E27FC236}">
                <a16:creationId xmlns:a16="http://schemas.microsoft.com/office/drawing/2014/main" id="{664C2FC2-5074-2C4E-D95B-AAEB27D73452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164565" y="2379173"/>
            <a:ext cx="4288683" cy="3510183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BEA0815-5B39-C310-D42D-1EA9FB03F1DC}"/>
              </a:ext>
            </a:extLst>
          </p:cNvPr>
          <p:cNvSpPr/>
          <p:nvPr/>
        </p:nvSpPr>
        <p:spPr>
          <a:xfrm>
            <a:off x="2109492" y="2198789"/>
            <a:ext cx="4880244" cy="3870948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382EEF-8761-06D5-1377-CF724CD3C830}"/>
              </a:ext>
            </a:extLst>
          </p:cNvPr>
          <p:cNvSpPr/>
          <p:nvPr/>
        </p:nvSpPr>
        <p:spPr>
          <a:xfrm>
            <a:off x="7164566" y="2198789"/>
            <a:ext cx="4658466" cy="3870948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700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HDRUK_final">
  <a:themeElements>
    <a:clrScheme name="UKHDR Alliance 1">
      <a:dk1>
        <a:srgbClr val="3CB28C"/>
      </a:dk1>
      <a:lt1>
        <a:srgbClr val="FFFFFF"/>
      </a:lt1>
      <a:dk2>
        <a:srgbClr val="000000"/>
      </a:dk2>
      <a:lt2>
        <a:srgbClr val="E7E6E6"/>
      </a:lt2>
      <a:accent1>
        <a:srgbClr val="475DA7"/>
      </a:accent1>
      <a:accent2>
        <a:srgbClr val="3C3C3B"/>
      </a:accent2>
      <a:accent3>
        <a:srgbClr val="ADDAD9"/>
      </a:accent3>
      <a:accent4>
        <a:srgbClr val="D1D7DA"/>
      </a:accent4>
      <a:accent5>
        <a:srgbClr val="28235C"/>
      </a:accent5>
      <a:accent6>
        <a:srgbClr val="E66400"/>
      </a:accent6>
      <a:hlink>
        <a:srgbClr val="3CB28C"/>
      </a:hlink>
      <a:folHlink>
        <a:srgbClr val="3CB28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DR UK Powerpoint template widescreen_bluetext" id="{F260CD41-FBCF-1249-A6F6-64DA974EC9FE}" vid="{AAC46210-85EE-5242-BAB9-C234C3EB4F6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cd17271-0186-4a94-a8e5-2a85c0fb5d22">
      <Terms xmlns="http://schemas.microsoft.com/office/infopath/2007/PartnerControls"/>
    </lcf76f155ced4ddcb4097134ff3c332f>
    <TaxCatchAll xmlns="bc82aed4-c161-4654-bb9f-d351edfac1a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FE055041E8254B8A6D76B64478F329" ma:contentTypeVersion="19" ma:contentTypeDescription="Create a new document." ma:contentTypeScope="" ma:versionID="c6dd630718421253e3ee69e283fb1d75">
  <xsd:schema xmlns:xsd="http://www.w3.org/2001/XMLSchema" xmlns:xs="http://www.w3.org/2001/XMLSchema" xmlns:p="http://schemas.microsoft.com/office/2006/metadata/properties" xmlns:ns2="5cd17271-0186-4a94-a8e5-2a85c0fb5d22" xmlns:ns3="bc82aed4-c161-4654-bb9f-d351edfac1aa" targetNamespace="http://schemas.microsoft.com/office/2006/metadata/properties" ma:root="true" ma:fieldsID="4f95146bbf090d33a725f5590f5df4ed" ns2:_="" ns3:_="">
    <xsd:import namespace="5cd17271-0186-4a94-a8e5-2a85c0fb5d22"/>
    <xsd:import namespace="bc82aed4-c161-4654-bb9f-d351edfac1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d17271-0186-4a94-a8e5-2a85c0fb5d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befa96b-bd20-4642-aeb5-bb74a145ad0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82aed4-c161-4654-bb9f-d351edfac1a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7d71542-4c3e-4ec6-a2b3-d174b35c905c}" ma:internalName="TaxCatchAll" ma:showField="CatchAllData" ma:web="bc82aed4-c161-4654-bb9f-d351edfac1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7A79DFB-A32D-4F68-92A1-A398A075371E}">
  <ds:schemaRefs>
    <ds:schemaRef ds:uri="http://schemas.microsoft.com/office/2006/metadata/properties"/>
    <ds:schemaRef ds:uri="http://schemas.microsoft.com/office/infopath/2007/PartnerControls"/>
    <ds:schemaRef ds:uri="5cd17271-0186-4a94-a8e5-2a85c0fb5d22"/>
    <ds:schemaRef ds:uri="bc82aed4-c161-4654-bb9f-d351edfac1aa"/>
  </ds:schemaRefs>
</ds:datastoreItem>
</file>

<file path=customXml/itemProps2.xml><?xml version="1.0" encoding="utf-8"?>
<ds:datastoreItem xmlns:ds="http://schemas.openxmlformats.org/officeDocument/2006/customXml" ds:itemID="{BE41FAE7-8595-4566-BF09-8E4B7C6C51A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DFE9E81-18CB-44CC-B3E4-1E2373FF62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d17271-0186-4a94-a8e5-2a85c0fb5d22"/>
    <ds:schemaRef ds:uri="bc82aed4-c161-4654-bb9f-d351edfac1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138</TotalTime>
  <Words>1327</Words>
  <Application>Microsoft Office PowerPoint</Application>
  <PresentationFormat>Widescreen</PresentationFormat>
  <Paragraphs>160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ptos</vt:lpstr>
      <vt:lpstr>Arial</vt:lpstr>
      <vt:lpstr>Calibri</vt:lpstr>
      <vt:lpstr>Segoe UI</vt:lpstr>
      <vt:lpstr>Source Sans Pro Black</vt:lpstr>
      <vt:lpstr>HDRUK_final</vt:lpstr>
      <vt:lpstr>think-cell Slide</vt:lpstr>
      <vt:lpstr>Evidence-led curation skills for sensitive data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arah Cadman</dc:creator>
  <cp:lastModifiedBy>Hollydawn Murray</cp:lastModifiedBy>
  <cp:revision>623</cp:revision>
  <dcterms:created xsi:type="dcterms:W3CDTF">2025-09-18T08:47:11Z</dcterms:created>
  <dcterms:modified xsi:type="dcterms:W3CDTF">2026-03-02T17:4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FE055041E8254B8A6D76B64478F329</vt:lpwstr>
  </property>
  <property fmtid="{D5CDD505-2E9C-101B-9397-08002B2CF9AE}" pid="3" name="MediaServiceImageTags">
    <vt:lpwstr/>
  </property>
</Properties>
</file>